
<file path=[Content_Types].xml><?xml version="1.0" encoding="utf-8"?>
<Types xmlns="http://schemas.openxmlformats.org/package/2006/content-types"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Default Extension="bin" ContentType="application/vnd.openxmlformats-officedocument.oleObject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tags/tag4.xml" ContentType="application/vnd.openxmlformats-officedocument.presentationml.tags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Default Extension="vml" ContentType="application/vnd.openxmlformats-officedocument.vmlDrawing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80" r:id="rId1"/>
    <p:sldMasterId id="2147483670" r:id="rId2"/>
  </p:sldMasterIdLst>
  <p:notesMasterIdLst>
    <p:notesMasterId r:id="rId8"/>
  </p:notesMasterIdLst>
  <p:handoutMasterIdLst>
    <p:handoutMasterId r:id="rId9"/>
  </p:handoutMasterIdLst>
  <p:sldIdLst>
    <p:sldId id="282" r:id="rId3"/>
    <p:sldId id="313" r:id="rId4"/>
    <p:sldId id="314" r:id="rId5"/>
    <p:sldId id="315" r:id="rId6"/>
    <p:sldId id="284" r:id="rId7"/>
  </p:sldIdLst>
  <p:sldSz cx="9906000" cy="6858000" type="A4"/>
  <p:notesSz cx="6858000" cy="9144000"/>
  <p:custDataLst>
    <p:tags r:id="rId10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84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5613" indent="1588" algn="l" rtl="0" fontAlgn="base">
      <a:spcBef>
        <a:spcPct val="0"/>
      </a:spcBef>
      <a:spcAft>
        <a:spcPct val="0"/>
      </a:spcAft>
      <a:defRPr sz="84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2813" indent="1588" algn="l" rtl="0" fontAlgn="base">
      <a:spcBef>
        <a:spcPct val="0"/>
      </a:spcBef>
      <a:spcAft>
        <a:spcPct val="0"/>
      </a:spcAft>
      <a:defRPr sz="84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0013" indent="1588" algn="l" rtl="0" fontAlgn="base">
      <a:spcBef>
        <a:spcPct val="0"/>
      </a:spcBef>
      <a:spcAft>
        <a:spcPct val="0"/>
      </a:spcAft>
      <a:defRPr sz="84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7213" indent="1588" algn="l" rtl="0" fontAlgn="base">
      <a:spcBef>
        <a:spcPct val="0"/>
      </a:spcBef>
      <a:spcAft>
        <a:spcPct val="0"/>
      </a:spcAft>
      <a:defRPr sz="84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84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84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84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84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843">
          <p15:clr>
            <a:srgbClr val="A4A3A4"/>
          </p15:clr>
        </p15:guide>
        <p15:guide id="2" pos="116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3D464A"/>
    <a:srgbClr val="EEF1F6"/>
    <a:srgbClr val="6B6B6B"/>
    <a:srgbClr val="F7CD35"/>
    <a:srgbClr val="F99D1C"/>
    <a:srgbClr val="FED208"/>
    <a:srgbClr val="FFD200"/>
    <a:srgbClr val="FCAF17"/>
    <a:srgbClr val="E2E2E2"/>
    <a:srgbClr val="BCBCBC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0693" autoAdjust="0"/>
    <p:restoredTop sz="99314" autoAdjust="0"/>
  </p:normalViewPr>
  <p:slideViewPr>
    <p:cSldViewPr snapToGrid="0">
      <p:cViewPr varScale="1">
        <p:scale>
          <a:sx n="96" d="100"/>
          <a:sy n="96" d="100"/>
        </p:scale>
        <p:origin x="-1236" y="-102"/>
      </p:cViewPr>
      <p:guideLst>
        <p:guide orient="horz" pos="3843"/>
        <p:guide pos="116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5" d="100"/>
          <a:sy n="85" d="100"/>
        </p:scale>
        <p:origin x="-3834" y="-96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86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3862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3862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3862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41E67A6C-BE61-4876-991E-2F59401B3E1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90095623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1F8E23DC-D2FA-4670-9EC0-54A2C26EDD62}" type="datetimeFigureOut">
              <a:rPr lang="ru-RU"/>
              <a:pPr>
                <a:defRPr/>
              </a:pPr>
              <a:t>17.07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7F67209F-7F9E-4405-98B4-B8EE81B9B96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75935948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Arial" charset="0"/>
        <a:cs typeface="Arial" charset="0"/>
      </a:defRPr>
    </a:lvl1pPr>
    <a:lvl2pPr marL="455613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Arial" charset="0"/>
        <a:cs typeface="Arial" pitchFamily="34" charset="0"/>
      </a:defRPr>
    </a:lvl2pPr>
    <a:lvl3pPr marL="912813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Arial" charset="0"/>
        <a:cs typeface="Arial" pitchFamily="34" charset="0"/>
      </a:defRPr>
    </a:lvl3pPr>
    <a:lvl4pPr marL="1370013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Arial" charset="0"/>
        <a:cs typeface="Arial" pitchFamily="34" charset="0"/>
      </a:defRPr>
    </a:lvl4pPr>
    <a:lvl5pPr marL="1827213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Arial" charset="0"/>
        <a:cs typeface="Arial" pitchFamily="34" charset="0"/>
      </a:defRPr>
    </a:lvl5pPr>
    <a:lvl6pPr marL="2285740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888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36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184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F67209F-7F9E-4405-98B4-B8EE81B9B969}" type="slidenum">
              <a:rPr lang="ru-RU" smtClean="0"/>
              <a:pPr>
                <a:defRPr/>
              </a:pPr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0709009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70000"/>
              </a:lnSpc>
            </a:pPr>
            <a:endParaRPr lang="ru-RU" altLang="ru-RU" sz="1000" smtClean="0"/>
          </a:p>
        </p:txBody>
      </p:sp>
      <p:sp>
        <p:nvSpPr>
          <p:cNvPr id="2560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DD253BE3-5C65-441F-9D2C-6D4B90A05F6E}" type="slidenum">
              <a:rPr lang="ru-RU" altLang="ru-RU" smtClean="0">
                <a:latin typeface="Arial" charset="0"/>
                <a:cs typeface="Arial" charset="0"/>
              </a:rPr>
              <a:pPr/>
              <a:t>2</a:t>
            </a:fld>
            <a:endParaRPr lang="ru-RU" altLang="ru-RU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70000"/>
              </a:lnSpc>
            </a:pPr>
            <a:endParaRPr lang="ru-RU" altLang="ru-RU" sz="1000" smtClean="0"/>
          </a:p>
        </p:txBody>
      </p:sp>
      <p:sp>
        <p:nvSpPr>
          <p:cNvPr id="2560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DD253BE3-5C65-441F-9D2C-6D4B90A05F6E}" type="slidenum">
              <a:rPr lang="ru-RU" altLang="ru-RU" smtClean="0">
                <a:latin typeface="Arial" charset="0"/>
                <a:cs typeface="Arial" charset="0"/>
              </a:rPr>
              <a:pPr/>
              <a:t>3</a:t>
            </a:fld>
            <a:endParaRPr lang="ru-RU" altLang="ru-RU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70000"/>
              </a:lnSpc>
            </a:pPr>
            <a:endParaRPr lang="ru-RU" altLang="ru-RU" sz="1000" smtClean="0"/>
          </a:p>
        </p:txBody>
      </p:sp>
      <p:sp>
        <p:nvSpPr>
          <p:cNvPr id="2560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DD253BE3-5C65-441F-9D2C-6D4B90A05F6E}" type="slidenum">
              <a:rPr lang="ru-RU" altLang="ru-RU" smtClean="0">
                <a:latin typeface="Arial" charset="0"/>
                <a:cs typeface="Arial" charset="0"/>
              </a:rPr>
              <a:pPr/>
              <a:t>4</a:t>
            </a:fld>
            <a:endParaRPr lang="ru-RU" altLang="ru-RU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1741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741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sz="8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8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8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8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8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5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4114377D-5E84-4FB1-BCA9-E8320ADB754E}" type="slidenum">
              <a:rPr lang="ru-RU" altLang="ru-RU" sz="1200" smtClean="0"/>
              <a:pPr eaLnBrk="1" hangingPunct="1"/>
              <a:t>5</a:t>
            </a:fld>
            <a:endParaRPr lang="ru-RU" altLang="ru-RU" sz="120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5284785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394" name="think-cell Slide" r:id="rId4" imgW="360" imgH="360" progId="">
              <p:embed/>
            </p:oleObj>
          </a:graphicData>
        </a:graphic>
      </p:graphicFrame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656115" y="3429000"/>
            <a:ext cx="6740297" cy="630464"/>
          </a:xfrm>
          <a:prstGeom prst="rect">
            <a:avLst/>
          </a:prstGeom>
        </p:spPr>
        <p:txBody>
          <a:bodyPr anchor="b" anchorCtr="0"/>
          <a:lstStyle>
            <a:lvl1pPr algn="l" rtl="0" eaLnBrk="1" fontAlgn="auto" hangingPunct="1">
              <a:spcBef>
                <a:spcPct val="0"/>
              </a:spcBef>
              <a:spcAft>
                <a:spcPts val="0"/>
              </a:spcAft>
              <a:defRPr lang="ru-RU" sz="3600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11266" name="Picture 2" descr="C:\Users\aflunina\Desktop\Библиотека\Логотипы\СИБИНТЕК\2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6217" t="29736" r="3750" b="32910"/>
          <a:stretch/>
        </p:blipFill>
        <p:spPr bwMode="auto">
          <a:xfrm>
            <a:off x="1844675" y="1202563"/>
            <a:ext cx="2615111" cy="766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48" name="Группа 147"/>
          <p:cNvGrpSpPr/>
          <p:nvPr userDrawn="1"/>
        </p:nvGrpSpPr>
        <p:grpSpPr>
          <a:xfrm rot="10800000">
            <a:off x="7527131" y="3813335"/>
            <a:ext cx="2378869" cy="3044664"/>
            <a:chOff x="-2381" y="-2381"/>
            <a:chExt cx="2378869" cy="3044664"/>
          </a:xfrm>
        </p:grpSpPr>
        <p:sp>
          <p:nvSpPr>
            <p:cNvPr id="149" name="Полилиния 148"/>
            <p:cNvSpPr/>
            <p:nvPr/>
          </p:nvSpPr>
          <p:spPr>
            <a:xfrm>
              <a:off x="38100" y="1471613"/>
              <a:ext cx="1076325" cy="1524000"/>
            </a:xfrm>
            <a:custGeom>
              <a:avLst/>
              <a:gdLst>
                <a:gd name="connsiteX0" fmla="*/ 0 w 1076325"/>
                <a:gd name="connsiteY0" fmla="*/ 1524000 h 1524000"/>
                <a:gd name="connsiteX1" fmla="*/ 228600 w 1076325"/>
                <a:gd name="connsiteY1" fmla="*/ 1204912 h 1524000"/>
                <a:gd name="connsiteX2" fmla="*/ 404813 w 1076325"/>
                <a:gd name="connsiteY2" fmla="*/ 1181100 h 1524000"/>
                <a:gd name="connsiteX3" fmla="*/ 838200 w 1076325"/>
                <a:gd name="connsiteY3" fmla="*/ 557212 h 1524000"/>
                <a:gd name="connsiteX4" fmla="*/ 804863 w 1076325"/>
                <a:gd name="connsiteY4" fmla="*/ 376237 h 1524000"/>
                <a:gd name="connsiteX5" fmla="*/ 1076325 w 1076325"/>
                <a:gd name="connsiteY5" fmla="*/ 0 h 152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76325" h="1524000">
                  <a:moveTo>
                    <a:pt x="0" y="1524000"/>
                  </a:moveTo>
                  <a:lnTo>
                    <a:pt x="228600" y="1204912"/>
                  </a:lnTo>
                  <a:lnTo>
                    <a:pt x="404813" y="1181100"/>
                  </a:lnTo>
                  <a:lnTo>
                    <a:pt x="838200" y="557212"/>
                  </a:lnTo>
                  <a:lnTo>
                    <a:pt x="804863" y="376237"/>
                  </a:lnTo>
                  <a:lnTo>
                    <a:pt x="1076325" y="0"/>
                  </a:lnTo>
                </a:path>
              </a:pathLst>
            </a:custGeom>
            <a:noFill/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0" name="Овал 149"/>
            <p:cNvSpPr/>
            <p:nvPr/>
          </p:nvSpPr>
          <p:spPr>
            <a:xfrm>
              <a:off x="1108710" y="1425892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1" name="Овал 150"/>
            <p:cNvSpPr/>
            <p:nvPr/>
          </p:nvSpPr>
          <p:spPr>
            <a:xfrm>
              <a:off x="475" y="2996564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2" name="Полилиния 151"/>
            <p:cNvSpPr/>
            <p:nvPr/>
          </p:nvSpPr>
          <p:spPr>
            <a:xfrm>
              <a:off x="1033463" y="552450"/>
              <a:ext cx="728662" cy="1247775"/>
            </a:xfrm>
            <a:custGeom>
              <a:avLst/>
              <a:gdLst>
                <a:gd name="connsiteX0" fmla="*/ 0 w 728662"/>
                <a:gd name="connsiteY0" fmla="*/ 1247775 h 1247775"/>
                <a:gd name="connsiteX1" fmla="*/ 128587 w 728662"/>
                <a:gd name="connsiteY1" fmla="*/ 1062038 h 1247775"/>
                <a:gd name="connsiteX2" fmla="*/ 304800 w 728662"/>
                <a:gd name="connsiteY2" fmla="*/ 1042988 h 1247775"/>
                <a:gd name="connsiteX3" fmla="*/ 447675 w 728662"/>
                <a:gd name="connsiteY3" fmla="*/ 833438 h 1247775"/>
                <a:gd name="connsiteX4" fmla="*/ 252412 w 728662"/>
                <a:gd name="connsiteY4" fmla="*/ 685800 h 1247775"/>
                <a:gd name="connsiteX5" fmla="*/ 728662 w 728662"/>
                <a:gd name="connsiteY5" fmla="*/ 0 h 124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28662" h="1247775">
                  <a:moveTo>
                    <a:pt x="0" y="1247775"/>
                  </a:moveTo>
                  <a:lnTo>
                    <a:pt x="128587" y="1062038"/>
                  </a:lnTo>
                  <a:lnTo>
                    <a:pt x="304800" y="1042988"/>
                  </a:lnTo>
                  <a:lnTo>
                    <a:pt x="447675" y="833438"/>
                  </a:lnTo>
                  <a:lnTo>
                    <a:pt x="252412" y="685800"/>
                  </a:lnTo>
                  <a:lnTo>
                    <a:pt x="728662" y="0"/>
                  </a:lnTo>
                </a:path>
              </a:pathLst>
            </a:custGeom>
            <a:noFill/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3" name="Овал 152"/>
            <p:cNvSpPr/>
            <p:nvPr/>
          </p:nvSpPr>
          <p:spPr>
            <a:xfrm>
              <a:off x="1748791" y="507681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4" name="Овал 153"/>
            <p:cNvSpPr/>
            <p:nvPr/>
          </p:nvSpPr>
          <p:spPr>
            <a:xfrm>
              <a:off x="997268" y="1796891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5" name="Полилиния 154"/>
            <p:cNvSpPr/>
            <p:nvPr/>
          </p:nvSpPr>
          <p:spPr>
            <a:xfrm>
              <a:off x="783431" y="885825"/>
              <a:ext cx="1040607" cy="1497806"/>
            </a:xfrm>
            <a:custGeom>
              <a:avLst/>
              <a:gdLst>
                <a:gd name="connsiteX0" fmla="*/ 1040607 w 1040607"/>
                <a:gd name="connsiteY0" fmla="*/ 0 h 1497806"/>
                <a:gd name="connsiteX1" fmla="*/ 907257 w 1040607"/>
                <a:gd name="connsiteY1" fmla="*/ 195263 h 1497806"/>
                <a:gd name="connsiteX2" fmla="*/ 950119 w 1040607"/>
                <a:gd name="connsiteY2" fmla="*/ 359569 h 1497806"/>
                <a:gd name="connsiteX3" fmla="*/ 590550 w 1040607"/>
                <a:gd name="connsiteY3" fmla="*/ 876300 h 1497806"/>
                <a:gd name="connsiteX4" fmla="*/ 407194 w 1040607"/>
                <a:gd name="connsiteY4" fmla="*/ 909638 h 1497806"/>
                <a:gd name="connsiteX5" fmla="*/ 0 w 1040607"/>
                <a:gd name="connsiteY5" fmla="*/ 1497806 h 1497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40607" h="1497806">
                  <a:moveTo>
                    <a:pt x="1040607" y="0"/>
                  </a:moveTo>
                  <a:lnTo>
                    <a:pt x="907257" y="195263"/>
                  </a:lnTo>
                  <a:lnTo>
                    <a:pt x="950119" y="359569"/>
                  </a:lnTo>
                  <a:lnTo>
                    <a:pt x="590550" y="876300"/>
                  </a:lnTo>
                  <a:lnTo>
                    <a:pt x="407194" y="909638"/>
                  </a:lnTo>
                  <a:lnTo>
                    <a:pt x="0" y="1497806"/>
                  </a:lnTo>
                </a:path>
              </a:pathLst>
            </a:custGeom>
            <a:noFill/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6" name="Овал 155"/>
            <p:cNvSpPr/>
            <p:nvPr/>
          </p:nvSpPr>
          <p:spPr>
            <a:xfrm>
              <a:off x="751998" y="2371726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7" name="Овал 156"/>
            <p:cNvSpPr/>
            <p:nvPr/>
          </p:nvSpPr>
          <p:spPr>
            <a:xfrm>
              <a:off x="1812133" y="846296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158" name="Прямая соединительная линия 157"/>
            <p:cNvCxnSpPr/>
            <p:nvPr/>
          </p:nvCxnSpPr>
          <p:spPr>
            <a:xfrm flipH="1">
              <a:off x="1824038" y="869155"/>
              <a:ext cx="171450" cy="245270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9" name="Овал 158"/>
            <p:cNvSpPr/>
            <p:nvPr/>
          </p:nvSpPr>
          <p:spPr>
            <a:xfrm>
              <a:off x="1985012" y="825817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0" name="Овал 159"/>
            <p:cNvSpPr/>
            <p:nvPr/>
          </p:nvSpPr>
          <p:spPr>
            <a:xfrm>
              <a:off x="1787369" y="1112044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161" name="Прямая соединительная линия 160"/>
            <p:cNvCxnSpPr/>
            <p:nvPr/>
          </p:nvCxnSpPr>
          <p:spPr>
            <a:xfrm flipH="1">
              <a:off x="1626394" y="1134903"/>
              <a:ext cx="332425" cy="477203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2" name="Овал 161"/>
            <p:cNvSpPr/>
            <p:nvPr/>
          </p:nvSpPr>
          <p:spPr>
            <a:xfrm>
              <a:off x="1945010" y="1098708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3" name="Овал 162"/>
            <p:cNvSpPr/>
            <p:nvPr/>
          </p:nvSpPr>
          <p:spPr>
            <a:xfrm>
              <a:off x="1589248" y="1609487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164" name="Прямая соединительная линия 163"/>
            <p:cNvCxnSpPr/>
            <p:nvPr/>
          </p:nvCxnSpPr>
          <p:spPr>
            <a:xfrm flipH="1">
              <a:off x="1416844" y="1756410"/>
              <a:ext cx="108589" cy="155734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5" name="Овал 164"/>
            <p:cNvSpPr/>
            <p:nvPr/>
          </p:nvSpPr>
          <p:spPr>
            <a:xfrm>
              <a:off x="1516859" y="1710691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6" name="Овал 165"/>
            <p:cNvSpPr/>
            <p:nvPr/>
          </p:nvSpPr>
          <p:spPr>
            <a:xfrm>
              <a:off x="1377317" y="1912144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167" name="Прямая соединительная линия 166"/>
            <p:cNvCxnSpPr/>
            <p:nvPr/>
          </p:nvCxnSpPr>
          <p:spPr>
            <a:xfrm>
              <a:off x="745331" y="1176337"/>
              <a:ext cx="274796" cy="178594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8" name="Овал 167"/>
            <p:cNvSpPr/>
            <p:nvPr/>
          </p:nvSpPr>
          <p:spPr>
            <a:xfrm>
              <a:off x="1278732" y="1382792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9" name="Овал 168"/>
            <p:cNvSpPr/>
            <p:nvPr/>
          </p:nvSpPr>
          <p:spPr>
            <a:xfrm>
              <a:off x="873443" y="1096327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0" name="Овал 169"/>
            <p:cNvSpPr/>
            <p:nvPr/>
          </p:nvSpPr>
          <p:spPr>
            <a:xfrm>
              <a:off x="699612" y="1134903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1" name="Овал 170"/>
            <p:cNvSpPr/>
            <p:nvPr/>
          </p:nvSpPr>
          <p:spPr>
            <a:xfrm>
              <a:off x="1010603" y="1350644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172" name="Прямая соединительная линия 171"/>
            <p:cNvCxnSpPr>
              <a:stCxn id="169" idx="5"/>
              <a:endCxn id="168" idx="1"/>
            </p:cNvCxnSpPr>
            <p:nvPr/>
          </p:nvCxnSpPr>
          <p:spPr>
            <a:xfrm>
              <a:off x="912467" y="1135351"/>
              <a:ext cx="372960" cy="254136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Прямая соединительная линия 172"/>
            <p:cNvCxnSpPr/>
            <p:nvPr/>
          </p:nvCxnSpPr>
          <p:spPr>
            <a:xfrm>
              <a:off x="660319" y="1270157"/>
              <a:ext cx="156450" cy="112635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4" name="Овал 173"/>
            <p:cNvSpPr/>
            <p:nvPr/>
          </p:nvSpPr>
          <p:spPr>
            <a:xfrm>
              <a:off x="610790" y="1229674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5" name="Овал 174"/>
            <p:cNvSpPr/>
            <p:nvPr/>
          </p:nvSpPr>
          <p:spPr>
            <a:xfrm>
              <a:off x="814388" y="1371118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176" name="Прямая соединительная линия 175"/>
            <p:cNvCxnSpPr/>
            <p:nvPr/>
          </p:nvCxnSpPr>
          <p:spPr>
            <a:xfrm>
              <a:off x="597929" y="1375885"/>
              <a:ext cx="58580" cy="40952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7" name="Овал 176"/>
            <p:cNvSpPr/>
            <p:nvPr/>
          </p:nvSpPr>
          <p:spPr>
            <a:xfrm>
              <a:off x="550779" y="1339450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8" name="Овал 177"/>
            <p:cNvSpPr/>
            <p:nvPr/>
          </p:nvSpPr>
          <p:spPr>
            <a:xfrm>
              <a:off x="653893" y="1408266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179" name="Прямая соединительная линия 178"/>
            <p:cNvCxnSpPr/>
            <p:nvPr/>
          </p:nvCxnSpPr>
          <p:spPr>
            <a:xfrm flipH="1">
              <a:off x="311944" y="1494948"/>
              <a:ext cx="187170" cy="261462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0" name="Овал 179"/>
            <p:cNvSpPr/>
            <p:nvPr/>
          </p:nvSpPr>
          <p:spPr>
            <a:xfrm>
              <a:off x="489590" y="1443991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1" name="Овал 180"/>
            <p:cNvSpPr/>
            <p:nvPr/>
          </p:nvSpPr>
          <p:spPr>
            <a:xfrm>
              <a:off x="266225" y="1754506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182" name="Прямая соединительная линия 181"/>
            <p:cNvCxnSpPr/>
            <p:nvPr/>
          </p:nvCxnSpPr>
          <p:spPr>
            <a:xfrm flipH="1">
              <a:off x="102394" y="1028700"/>
              <a:ext cx="396720" cy="580787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3" name="Овал 182"/>
            <p:cNvSpPr/>
            <p:nvPr/>
          </p:nvSpPr>
          <p:spPr>
            <a:xfrm>
              <a:off x="489589" y="982981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4" name="Овал 183"/>
            <p:cNvSpPr/>
            <p:nvPr/>
          </p:nvSpPr>
          <p:spPr>
            <a:xfrm>
              <a:off x="63818" y="1605200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5" name="Полилиния 184"/>
            <p:cNvSpPr/>
            <p:nvPr/>
          </p:nvSpPr>
          <p:spPr>
            <a:xfrm>
              <a:off x="581025" y="1483519"/>
              <a:ext cx="357188" cy="302419"/>
            </a:xfrm>
            <a:custGeom>
              <a:avLst/>
              <a:gdLst>
                <a:gd name="connsiteX0" fmla="*/ 357188 w 357188"/>
                <a:gd name="connsiteY0" fmla="*/ 0 h 302419"/>
                <a:gd name="connsiteX1" fmla="*/ 200025 w 357188"/>
                <a:gd name="connsiteY1" fmla="*/ 14287 h 302419"/>
                <a:gd name="connsiteX2" fmla="*/ 0 w 357188"/>
                <a:gd name="connsiteY2" fmla="*/ 302419 h 302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57188" h="302419">
                  <a:moveTo>
                    <a:pt x="357188" y="0"/>
                  </a:moveTo>
                  <a:lnTo>
                    <a:pt x="200025" y="14287"/>
                  </a:lnTo>
                  <a:lnTo>
                    <a:pt x="0" y="302419"/>
                  </a:lnTo>
                </a:path>
              </a:pathLst>
            </a:custGeom>
            <a:noFill/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6" name="Овал 185"/>
            <p:cNvSpPr/>
            <p:nvPr/>
          </p:nvSpPr>
          <p:spPr>
            <a:xfrm>
              <a:off x="938213" y="1460659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7" name="Овал 186"/>
            <p:cNvSpPr/>
            <p:nvPr/>
          </p:nvSpPr>
          <p:spPr>
            <a:xfrm>
              <a:off x="544833" y="1786177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188" name="Прямая соединительная линия 187"/>
            <p:cNvCxnSpPr/>
            <p:nvPr/>
          </p:nvCxnSpPr>
          <p:spPr>
            <a:xfrm flipH="1">
              <a:off x="433388" y="1985010"/>
              <a:ext cx="318611" cy="462915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9" name="Овал 188"/>
            <p:cNvSpPr/>
            <p:nvPr/>
          </p:nvSpPr>
          <p:spPr>
            <a:xfrm>
              <a:off x="739618" y="1950719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0" name="Овал 189"/>
            <p:cNvSpPr/>
            <p:nvPr/>
          </p:nvSpPr>
          <p:spPr>
            <a:xfrm>
              <a:off x="390050" y="2445544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191" name="Прямая соединительная линия 190"/>
            <p:cNvCxnSpPr/>
            <p:nvPr/>
          </p:nvCxnSpPr>
          <p:spPr>
            <a:xfrm flipH="1">
              <a:off x="1147286" y="905114"/>
              <a:ext cx="53108" cy="77867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2" name="Прямая соединительная линия 191"/>
            <p:cNvCxnSpPr/>
            <p:nvPr/>
          </p:nvCxnSpPr>
          <p:spPr>
            <a:xfrm flipH="1">
              <a:off x="1301591" y="602695"/>
              <a:ext cx="102280" cy="154543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Прямая соединительная линия 192"/>
            <p:cNvCxnSpPr>
              <a:endCxn id="198" idx="3"/>
            </p:cNvCxnSpPr>
            <p:nvPr/>
          </p:nvCxnSpPr>
          <p:spPr>
            <a:xfrm rot="10800000" flipV="1">
              <a:off x="1830733" y="333611"/>
              <a:ext cx="75222" cy="98319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4" name="Овал 193"/>
            <p:cNvSpPr/>
            <p:nvPr/>
          </p:nvSpPr>
          <p:spPr>
            <a:xfrm>
              <a:off x="1117284" y="968930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5" name="Овал 194"/>
            <p:cNvSpPr/>
            <p:nvPr/>
          </p:nvSpPr>
          <p:spPr>
            <a:xfrm>
              <a:off x="1184677" y="869155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6" name="Овал 195"/>
            <p:cNvSpPr/>
            <p:nvPr/>
          </p:nvSpPr>
          <p:spPr>
            <a:xfrm>
              <a:off x="1262567" y="756284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7" name="Овал 196"/>
            <p:cNvSpPr/>
            <p:nvPr/>
          </p:nvSpPr>
          <p:spPr>
            <a:xfrm>
              <a:off x="1397346" y="559831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8" name="Овал 197"/>
            <p:cNvSpPr/>
            <p:nvPr/>
          </p:nvSpPr>
          <p:spPr>
            <a:xfrm>
              <a:off x="1824038" y="392906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9" name="Овал 198"/>
            <p:cNvSpPr/>
            <p:nvPr/>
          </p:nvSpPr>
          <p:spPr>
            <a:xfrm>
              <a:off x="1896910" y="287894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0" name="Полилиния 199"/>
            <p:cNvSpPr/>
            <p:nvPr/>
          </p:nvSpPr>
          <p:spPr>
            <a:xfrm>
              <a:off x="1524000" y="100013"/>
              <a:ext cx="700088" cy="1143000"/>
            </a:xfrm>
            <a:custGeom>
              <a:avLst/>
              <a:gdLst>
                <a:gd name="connsiteX0" fmla="*/ 21431 w 700088"/>
                <a:gd name="connsiteY0" fmla="*/ 1143000 h 1143000"/>
                <a:gd name="connsiteX1" fmla="*/ 0 w 700088"/>
                <a:gd name="connsiteY1" fmla="*/ 995362 h 1143000"/>
                <a:gd name="connsiteX2" fmla="*/ 700088 w 700088"/>
                <a:gd name="connsiteY2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00088" h="1143000">
                  <a:moveTo>
                    <a:pt x="21431" y="1143000"/>
                  </a:moveTo>
                  <a:lnTo>
                    <a:pt x="0" y="995362"/>
                  </a:lnTo>
                  <a:lnTo>
                    <a:pt x="700088" y="0"/>
                  </a:lnTo>
                </a:path>
              </a:pathLst>
            </a:custGeom>
            <a:noFill/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1" name="Овал 200"/>
            <p:cNvSpPr/>
            <p:nvPr/>
          </p:nvSpPr>
          <p:spPr>
            <a:xfrm>
              <a:off x="1531624" y="1247297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2" name="Овал 201"/>
            <p:cNvSpPr/>
            <p:nvPr/>
          </p:nvSpPr>
          <p:spPr>
            <a:xfrm>
              <a:off x="2210752" y="54294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203" name="Прямая соединительная линия 202"/>
            <p:cNvCxnSpPr/>
            <p:nvPr/>
          </p:nvCxnSpPr>
          <p:spPr>
            <a:xfrm flipH="1">
              <a:off x="1942629" y="287894"/>
              <a:ext cx="313842" cy="440769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4" name="Овал 203"/>
            <p:cNvSpPr/>
            <p:nvPr/>
          </p:nvSpPr>
          <p:spPr>
            <a:xfrm>
              <a:off x="2244564" y="240746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5" name="Овал 204"/>
            <p:cNvSpPr/>
            <p:nvPr/>
          </p:nvSpPr>
          <p:spPr>
            <a:xfrm>
              <a:off x="1905955" y="720805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6" name="Полилиния 205"/>
            <p:cNvSpPr/>
            <p:nvPr/>
          </p:nvSpPr>
          <p:spPr>
            <a:xfrm>
              <a:off x="2064544" y="2381"/>
              <a:ext cx="311944" cy="983457"/>
            </a:xfrm>
            <a:custGeom>
              <a:avLst/>
              <a:gdLst>
                <a:gd name="connsiteX0" fmla="*/ 254794 w 311944"/>
                <a:gd name="connsiteY0" fmla="*/ 0 h 983457"/>
                <a:gd name="connsiteX1" fmla="*/ 311944 w 311944"/>
                <a:gd name="connsiteY1" fmla="*/ 319088 h 983457"/>
                <a:gd name="connsiteX2" fmla="*/ 19050 w 311944"/>
                <a:gd name="connsiteY2" fmla="*/ 733425 h 983457"/>
                <a:gd name="connsiteX3" fmla="*/ 52387 w 311944"/>
                <a:gd name="connsiteY3" fmla="*/ 914400 h 983457"/>
                <a:gd name="connsiteX4" fmla="*/ 0 w 311944"/>
                <a:gd name="connsiteY4" fmla="*/ 983457 h 983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1944" h="983457">
                  <a:moveTo>
                    <a:pt x="254794" y="0"/>
                  </a:moveTo>
                  <a:lnTo>
                    <a:pt x="311944" y="319088"/>
                  </a:lnTo>
                  <a:lnTo>
                    <a:pt x="19050" y="733425"/>
                  </a:lnTo>
                  <a:lnTo>
                    <a:pt x="52387" y="914400"/>
                  </a:lnTo>
                  <a:lnTo>
                    <a:pt x="0" y="983457"/>
                  </a:lnTo>
                </a:path>
              </a:pathLst>
            </a:custGeom>
            <a:noFill/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7" name="Овал 206"/>
            <p:cNvSpPr/>
            <p:nvPr/>
          </p:nvSpPr>
          <p:spPr>
            <a:xfrm>
              <a:off x="2028827" y="981550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208" name="Прямая соединительная линия 207"/>
            <p:cNvCxnSpPr/>
            <p:nvPr/>
          </p:nvCxnSpPr>
          <p:spPr>
            <a:xfrm flipH="1">
              <a:off x="2028827" y="0"/>
              <a:ext cx="109536" cy="171450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9" name="Овал 208"/>
            <p:cNvSpPr/>
            <p:nvPr/>
          </p:nvSpPr>
          <p:spPr>
            <a:xfrm>
              <a:off x="1985011" y="171450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10" name="Полилиния 209"/>
            <p:cNvSpPr/>
            <p:nvPr/>
          </p:nvSpPr>
          <p:spPr>
            <a:xfrm>
              <a:off x="988219" y="-2381"/>
              <a:ext cx="900112" cy="1169194"/>
            </a:xfrm>
            <a:custGeom>
              <a:avLst/>
              <a:gdLst>
                <a:gd name="connsiteX0" fmla="*/ 876300 w 900112"/>
                <a:gd name="connsiteY0" fmla="*/ 0 h 1169194"/>
                <a:gd name="connsiteX1" fmla="*/ 900112 w 900112"/>
                <a:gd name="connsiteY1" fmla="*/ 140494 h 1169194"/>
                <a:gd name="connsiteX2" fmla="*/ 188119 w 900112"/>
                <a:gd name="connsiteY2" fmla="*/ 1169194 h 1169194"/>
                <a:gd name="connsiteX3" fmla="*/ 0 w 900112"/>
                <a:gd name="connsiteY3" fmla="*/ 1045369 h 1169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0112" h="1169194">
                  <a:moveTo>
                    <a:pt x="876300" y="0"/>
                  </a:moveTo>
                  <a:lnTo>
                    <a:pt x="900112" y="140494"/>
                  </a:lnTo>
                  <a:lnTo>
                    <a:pt x="188119" y="1169194"/>
                  </a:lnTo>
                  <a:lnTo>
                    <a:pt x="0" y="1045369"/>
                  </a:lnTo>
                </a:path>
              </a:pathLst>
            </a:custGeom>
            <a:noFill/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11" name="Овал 210"/>
            <p:cNvSpPr/>
            <p:nvPr/>
          </p:nvSpPr>
          <p:spPr>
            <a:xfrm>
              <a:off x="951549" y="1005840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212" name="Прямая соединительная линия 211"/>
            <p:cNvCxnSpPr/>
            <p:nvPr/>
          </p:nvCxnSpPr>
          <p:spPr>
            <a:xfrm flipH="1">
              <a:off x="1516859" y="92869"/>
              <a:ext cx="254791" cy="345756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Прямая соединительная линия 212"/>
            <p:cNvCxnSpPr/>
            <p:nvPr/>
          </p:nvCxnSpPr>
          <p:spPr>
            <a:xfrm flipH="1">
              <a:off x="1497806" y="2381"/>
              <a:ext cx="183357" cy="261224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Прямая соединительная линия 213"/>
            <p:cNvCxnSpPr>
              <a:stCxn id="217" idx="3"/>
            </p:cNvCxnSpPr>
            <p:nvPr/>
          </p:nvCxnSpPr>
          <p:spPr>
            <a:xfrm flipH="1">
              <a:off x="1056323" y="411925"/>
              <a:ext cx="325306" cy="480090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5" name="Прямая соединительная линия 214"/>
            <p:cNvCxnSpPr/>
            <p:nvPr/>
          </p:nvCxnSpPr>
          <p:spPr>
            <a:xfrm flipH="1">
              <a:off x="1230396" y="150019"/>
              <a:ext cx="189809" cy="265746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6" name="Овал 215"/>
            <p:cNvSpPr/>
            <p:nvPr/>
          </p:nvSpPr>
          <p:spPr>
            <a:xfrm>
              <a:off x="1020127" y="885825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17" name="Овал 216"/>
            <p:cNvSpPr/>
            <p:nvPr/>
          </p:nvSpPr>
          <p:spPr>
            <a:xfrm>
              <a:off x="1374934" y="372901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18" name="Овал 217"/>
            <p:cNvSpPr/>
            <p:nvPr/>
          </p:nvSpPr>
          <p:spPr>
            <a:xfrm>
              <a:off x="1457687" y="260032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19" name="Овал 218"/>
            <p:cNvSpPr/>
            <p:nvPr/>
          </p:nvSpPr>
          <p:spPr>
            <a:xfrm>
              <a:off x="1478281" y="440293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0" name="Овал 219"/>
            <p:cNvSpPr/>
            <p:nvPr/>
          </p:nvSpPr>
          <p:spPr>
            <a:xfrm>
              <a:off x="1762125" y="53102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1" name="Овал 220"/>
            <p:cNvSpPr/>
            <p:nvPr/>
          </p:nvSpPr>
          <p:spPr>
            <a:xfrm>
              <a:off x="1928814" y="15480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2" name="Овал 221"/>
            <p:cNvSpPr/>
            <p:nvPr/>
          </p:nvSpPr>
          <p:spPr>
            <a:xfrm>
              <a:off x="1196116" y="411925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3" name="Овал 222"/>
            <p:cNvSpPr/>
            <p:nvPr/>
          </p:nvSpPr>
          <p:spPr>
            <a:xfrm>
              <a:off x="1412325" y="104300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4" name="Овал 223"/>
            <p:cNvSpPr/>
            <p:nvPr/>
          </p:nvSpPr>
          <p:spPr>
            <a:xfrm>
              <a:off x="1483767" y="14051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225" name="Прямая соединительная линия 224"/>
            <p:cNvCxnSpPr/>
            <p:nvPr/>
          </p:nvCxnSpPr>
          <p:spPr>
            <a:xfrm flipH="1">
              <a:off x="774857" y="287894"/>
              <a:ext cx="388146" cy="560782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6" name="Прямая соединительная линия 225"/>
            <p:cNvCxnSpPr/>
            <p:nvPr/>
          </p:nvCxnSpPr>
          <p:spPr>
            <a:xfrm flipH="1">
              <a:off x="882729" y="310753"/>
              <a:ext cx="114539" cy="175259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7" name="Прямая соединительная линия 226"/>
            <p:cNvCxnSpPr/>
            <p:nvPr/>
          </p:nvCxnSpPr>
          <p:spPr>
            <a:xfrm flipH="1">
              <a:off x="597929" y="623888"/>
              <a:ext cx="185502" cy="268127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8" name="Прямая соединительная линия 227"/>
            <p:cNvCxnSpPr/>
            <p:nvPr/>
          </p:nvCxnSpPr>
          <p:spPr>
            <a:xfrm flipH="1">
              <a:off x="653893" y="333613"/>
              <a:ext cx="183354" cy="269082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9" name="Прямая соединительная линия 228"/>
            <p:cNvCxnSpPr/>
            <p:nvPr/>
          </p:nvCxnSpPr>
          <p:spPr>
            <a:xfrm flipH="1">
              <a:off x="219075" y="766524"/>
              <a:ext cx="316234" cy="445532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Прямая соединительная линия 229"/>
            <p:cNvCxnSpPr/>
            <p:nvPr/>
          </p:nvCxnSpPr>
          <p:spPr>
            <a:xfrm rot="10800000" flipV="1">
              <a:off x="112870" y="1083916"/>
              <a:ext cx="50511" cy="75302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1" name="Овал 230"/>
            <p:cNvSpPr/>
            <p:nvPr/>
          </p:nvSpPr>
          <p:spPr>
            <a:xfrm>
              <a:off x="558165" y="892015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32" name="Овал 231"/>
            <p:cNvSpPr/>
            <p:nvPr/>
          </p:nvSpPr>
          <p:spPr>
            <a:xfrm>
              <a:off x="773430" y="578169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33" name="Овал 232"/>
            <p:cNvSpPr/>
            <p:nvPr/>
          </p:nvSpPr>
          <p:spPr>
            <a:xfrm>
              <a:off x="850104" y="468751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34" name="Овал 233"/>
            <p:cNvSpPr/>
            <p:nvPr/>
          </p:nvSpPr>
          <p:spPr>
            <a:xfrm>
              <a:off x="987028" y="265747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35" name="Овал 234"/>
            <p:cNvSpPr/>
            <p:nvPr/>
          </p:nvSpPr>
          <p:spPr>
            <a:xfrm>
              <a:off x="819152" y="300511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36" name="Овал 235"/>
            <p:cNvSpPr/>
            <p:nvPr/>
          </p:nvSpPr>
          <p:spPr>
            <a:xfrm>
              <a:off x="612220" y="601028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37" name="Овал 236"/>
            <p:cNvSpPr/>
            <p:nvPr/>
          </p:nvSpPr>
          <p:spPr>
            <a:xfrm>
              <a:off x="525066" y="721520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38" name="Овал 237"/>
            <p:cNvSpPr/>
            <p:nvPr/>
          </p:nvSpPr>
          <p:spPr>
            <a:xfrm>
              <a:off x="184310" y="1205387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39" name="Овал 238"/>
            <p:cNvSpPr/>
            <p:nvPr/>
          </p:nvSpPr>
          <p:spPr>
            <a:xfrm>
              <a:off x="75723" y="1158239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0" name="Овал 239"/>
            <p:cNvSpPr/>
            <p:nvPr/>
          </p:nvSpPr>
          <p:spPr>
            <a:xfrm>
              <a:off x="152400" y="1050608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1" name="Овал 240"/>
            <p:cNvSpPr/>
            <p:nvPr/>
          </p:nvSpPr>
          <p:spPr>
            <a:xfrm>
              <a:off x="15240" y="1256819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2" name="Овал 241"/>
            <p:cNvSpPr/>
            <p:nvPr/>
          </p:nvSpPr>
          <p:spPr>
            <a:xfrm>
              <a:off x="43339" y="1428744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3" name="Овал 242"/>
            <p:cNvSpPr/>
            <p:nvPr/>
          </p:nvSpPr>
          <p:spPr>
            <a:xfrm>
              <a:off x="111918" y="1326474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244" name="Прямая соединительная линия 243"/>
            <p:cNvCxnSpPr>
              <a:stCxn id="243" idx="2"/>
            </p:cNvCxnSpPr>
            <p:nvPr/>
          </p:nvCxnSpPr>
          <p:spPr>
            <a:xfrm flipH="1">
              <a:off x="0" y="1349334"/>
              <a:ext cx="111918" cy="21784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5" name="Прямая соединительная линия 244"/>
            <p:cNvCxnSpPr/>
            <p:nvPr/>
          </p:nvCxnSpPr>
          <p:spPr>
            <a:xfrm flipH="1">
              <a:off x="475" y="514470"/>
              <a:ext cx="405054" cy="581857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6" name="Овал 245"/>
            <p:cNvSpPr/>
            <p:nvPr/>
          </p:nvSpPr>
          <p:spPr>
            <a:xfrm>
              <a:off x="396003" y="470535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247" name="Прямая соединительная линия 246"/>
            <p:cNvCxnSpPr/>
            <p:nvPr/>
          </p:nvCxnSpPr>
          <p:spPr>
            <a:xfrm flipH="1">
              <a:off x="0" y="744379"/>
              <a:ext cx="89058" cy="127157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8" name="Овал 247"/>
            <p:cNvSpPr/>
            <p:nvPr/>
          </p:nvSpPr>
          <p:spPr>
            <a:xfrm>
              <a:off x="79059" y="701278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9" name="Полилиния 248"/>
            <p:cNvSpPr/>
            <p:nvPr/>
          </p:nvSpPr>
          <p:spPr>
            <a:xfrm>
              <a:off x="0" y="50006"/>
              <a:ext cx="116681" cy="167163"/>
            </a:xfrm>
            <a:custGeom>
              <a:avLst/>
              <a:gdLst>
                <a:gd name="connsiteX0" fmla="*/ 97631 w 97631"/>
                <a:gd name="connsiteY0" fmla="*/ 0 h 142875"/>
                <a:gd name="connsiteX1" fmla="*/ 0 w 97631"/>
                <a:gd name="connsiteY1" fmla="*/ 142875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631" h="142875">
                  <a:moveTo>
                    <a:pt x="97631" y="0"/>
                  </a:moveTo>
                  <a:lnTo>
                    <a:pt x="0" y="142875"/>
                  </a:lnTo>
                </a:path>
              </a:pathLst>
            </a:custGeom>
            <a:noFill/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0" name="Овал 249"/>
            <p:cNvSpPr/>
            <p:nvPr/>
          </p:nvSpPr>
          <p:spPr>
            <a:xfrm>
              <a:off x="104537" y="11907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1" name="Полилиния 250"/>
            <p:cNvSpPr/>
            <p:nvPr/>
          </p:nvSpPr>
          <p:spPr>
            <a:xfrm>
              <a:off x="-2381" y="-2381"/>
              <a:ext cx="261937" cy="440531"/>
            </a:xfrm>
            <a:custGeom>
              <a:avLst/>
              <a:gdLst>
                <a:gd name="connsiteX0" fmla="*/ 247650 w 261937"/>
                <a:gd name="connsiteY0" fmla="*/ 0 h 440531"/>
                <a:gd name="connsiteX1" fmla="*/ 261937 w 261937"/>
                <a:gd name="connsiteY1" fmla="*/ 73819 h 440531"/>
                <a:gd name="connsiteX2" fmla="*/ 0 w 261937"/>
                <a:gd name="connsiteY2" fmla="*/ 440531 h 440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1937" h="440531">
                  <a:moveTo>
                    <a:pt x="247650" y="0"/>
                  </a:moveTo>
                  <a:lnTo>
                    <a:pt x="261937" y="73819"/>
                  </a:lnTo>
                  <a:lnTo>
                    <a:pt x="0" y="440531"/>
                  </a:lnTo>
                </a:path>
              </a:pathLst>
            </a:custGeom>
            <a:noFill/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2" name="Полилиния 251"/>
            <p:cNvSpPr/>
            <p:nvPr/>
          </p:nvSpPr>
          <p:spPr>
            <a:xfrm>
              <a:off x="2381" y="161925"/>
              <a:ext cx="347663" cy="404813"/>
            </a:xfrm>
            <a:custGeom>
              <a:avLst/>
              <a:gdLst>
                <a:gd name="connsiteX0" fmla="*/ 0 w 347663"/>
                <a:gd name="connsiteY0" fmla="*/ 404813 h 404813"/>
                <a:gd name="connsiteX1" fmla="*/ 69057 w 347663"/>
                <a:gd name="connsiteY1" fmla="*/ 395288 h 404813"/>
                <a:gd name="connsiteX2" fmla="*/ 347663 w 347663"/>
                <a:gd name="connsiteY2" fmla="*/ 0 h 404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7663" h="404813">
                  <a:moveTo>
                    <a:pt x="0" y="404813"/>
                  </a:moveTo>
                  <a:lnTo>
                    <a:pt x="69057" y="395288"/>
                  </a:lnTo>
                  <a:lnTo>
                    <a:pt x="347663" y="0"/>
                  </a:lnTo>
                </a:path>
              </a:pathLst>
            </a:custGeom>
            <a:noFill/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3" name="Полилиния 252"/>
            <p:cNvSpPr/>
            <p:nvPr/>
          </p:nvSpPr>
          <p:spPr>
            <a:xfrm>
              <a:off x="0" y="71438"/>
              <a:ext cx="461963" cy="578643"/>
            </a:xfrm>
            <a:custGeom>
              <a:avLst/>
              <a:gdLst>
                <a:gd name="connsiteX0" fmla="*/ 0 w 461963"/>
                <a:gd name="connsiteY0" fmla="*/ 578643 h 578643"/>
                <a:gd name="connsiteX1" fmla="*/ 169069 w 461963"/>
                <a:gd name="connsiteY1" fmla="*/ 550068 h 578643"/>
                <a:gd name="connsiteX2" fmla="*/ 461963 w 461963"/>
                <a:gd name="connsiteY2" fmla="*/ 140493 h 578643"/>
                <a:gd name="connsiteX3" fmla="*/ 438150 w 461963"/>
                <a:gd name="connsiteY3" fmla="*/ 0 h 578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1963" h="578643">
                  <a:moveTo>
                    <a:pt x="0" y="578643"/>
                  </a:moveTo>
                  <a:lnTo>
                    <a:pt x="169069" y="550068"/>
                  </a:lnTo>
                  <a:lnTo>
                    <a:pt x="461963" y="140493"/>
                  </a:lnTo>
                  <a:lnTo>
                    <a:pt x="438150" y="0"/>
                  </a:lnTo>
                </a:path>
              </a:pathLst>
            </a:custGeom>
            <a:noFill/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4" name="Полилиния 253"/>
            <p:cNvSpPr/>
            <p:nvPr/>
          </p:nvSpPr>
          <p:spPr>
            <a:xfrm>
              <a:off x="507206" y="0"/>
              <a:ext cx="135732" cy="359569"/>
            </a:xfrm>
            <a:custGeom>
              <a:avLst/>
              <a:gdLst>
                <a:gd name="connsiteX0" fmla="*/ 9525 w 135732"/>
                <a:gd name="connsiteY0" fmla="*/ 0 h 359569"/>
                <a:gd name="connsiteX1" fmla="*/ 28575 w 135732"/>
                <a:gd name="connsiteY1" fmla="*/ 109538 h 359569"/>
                <a:gd name="connsiteX2" fmla="*/ 135732 w 135732"/>
                <a:gd name="connsiteY2" fmla="*/ 183356 h 359569"/>
                <a:gd name="connsiteX3" fmla="*/ 0 w 135732"/>
                <a:gd name="connsiteY3" fmla="*/ 359569 h 359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732" h="359569">
                  <a:moveTo>
                    <a:pt x="9525" y="0"/>
                  </a:moveTo>
                  <a:lnTo>
                    <a:pt x="28575" y="109538"/>
                  </a:lnTo>
                  <a:lnTo>
                    <a:pt x="135732" y="183356"/>
                  </a:lnTo>
                  <a:lnTo>
                    <a:pt x="0" y="359569"/>
                  </a:lnTo>
                </a:path>
              </a:pathLst>
            </a:custGeom>
            <a:noFill/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5" name="Полилиния 254"/>
            <p:cNvSpPr/>
            <p:nvPr/>
          </p:nvSpPr>
          <p:spPr>
            <a:xfrm>
              <a:off x="254794" y="-2381"/>
              <a:ext cx="971550" cy="952500"/>
            </a:xfrm>
            <a:custGeom>
              <a:avLst/>
              <a:gdLst>
                <a:gd name="connsiteX0" fmla="*/ 971550 w 971550"/>
                <a:gd name="connsiteY0" fmla="*/ 0 h 952500"/>
                <a:gd name="connsiteX1" fmla="*/ 907256 w 971550"/>
                <a:gd name="connsiteY1" fmla="*/ 92869 h 952500"/>
                <a:gd name="connsiteX2" fmla="*/ 554831 w 971550"/>
                <a:gd name="connsiteY2" fmla="*/ 147637 h 952500"/>
                <a:gd name="connsiteX3" fmla="*/ 0 w 971550"/>
                <a:gd name="connsiteY3" fmla="*/ 952500 h 9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1550" h="952500">
                  <a:moveTo>
                    <a:pt x="971550" y="0"/>
                  </a:moveTo>
                  <a:lnTo>
                    <a:pt x="907256" y="92869"/>
                  </a:lnTo>
                  <a:lnTo>
                    <a:pt x="554831" y="147637"/>
                  </a:lnTo>
                  <a:lnTo>
                    <a:pt x="0" y="952500"/>
                  </a:lnTo>
                </a:path>
              </a:pathLst>
            </a:custGeom>
            <a:noFill/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6" name="Полилиния 255"/>
            <p:cNvSpPr/>
            <p:nvPr/>
          </p:nvSpPr>
          <p:spPr>
            <a:xfrm>
              <a:off x="950119" y="2381"/>
              <a:ext cx="421481" cy="207169"/>
            </a:xfrm>
            <a:custGeom>
              <a:avLst/>
              <a:gdLst>
                <a:gd name="connsiteX0" fmla="*/ 421481 w 421481"/>
                <a:gd name="connsiteY0" fmla="*/ 0 h 207169"/>
                <a:gd name="connsiteX1" fmla="*/ 316706 w 421481"/>
                <a:gd name="connsiteY1" fmla="*/ 152400 h 207169"/>
                <a:gd name="connsiteX2" fmla="*/ 0 w 421481"/>
                <a:gd name="connsiteY2" fmla="*/ 207169 h 20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1481" h="207169">
                  <a:moveTo>
                    <a:pt x="421481" y="0"/>
                  </a:moveTo>
                  <a:lnTo>
                    <a:pt x="316706" y="152400"/>
                  </a:lnTo>
                  <a:lnTo>
                    <a:pt x="0" y="207169"/>
                  </a:lnTo>
                </a:path>
              </a:pathLst>
            </a:custGeom>
            <a:noFill/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7" name="Полилиния 256"/>
            <p:cNvSpPr/>
            <p:nvPr/>
          </p:nvSpPr>
          <p:spPr>
            <a:xfrm>
              <a:off x="345281" y="559594"/>
              <a:ext cx="792957" cy="914400"/>
            </a:xfrm>
            <a:custGeom>
              <a:avLst/>
              <a:gdLst>
                <a:gd name="connsiteX0" fmla="*/ 792957 w 792957"/>
                <a:gd name="connsiteY0" fmla="*/ 0 h 914400"/>
                <a:gd name="connsiteX1" fmla="*/ 519113 w 792957"/>
                <a:gd name="connsiteY1" fmla="*/ 390525 h 914400"/>
                <a:gd name="connsiteX2" fmla="*/ 266700 w 792957"/>
                <a:gd name="connsiteY2" fmla="*/ 526256 h 914400"/>
                <a:gd name="connsiteX3" fmla="*/ 0 w 792957"/>
                <a:gd name="connsiteY3" fmla="*/ 9144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2957" h="914400">
                  <a:moveTo>
                    <a:pt x="792957" y="0"/>
                  </a:moveTo>
                  <a:lnTo>
                    <a:pt x="519113" y="390525"/>
                  </a:lnTo>
                  <a:lnTo>
                    <a:pt x="266700" y="526256"/>
                  </a:lnTo>
                  <a:lnTo>
                    <a:pt x="0" y="914400"/>
                  </a:lnTo>
                </a:path>
              </a:pathLst>
            </a:custGeom>
            <a:noFill/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258" name="Прямая соединительная линия 257"/>
            <p:cNvCxnSpPr/>
            <p:nvPr/>
          </p:nvCxnSpPr>
          <p:spPr>
            <a:xfrm flipH="1">
              <a:off x="2381" y="1625679"/>
              <a:ext cx="252413" cy="347899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9" name="Овал 258"/>
            <p:cNvSpPr/>
            <p:nvPr/>
          </p:nvSpPr>
          <p:spPr>
            <a:xfrm>
              <a:off x="310754" y="1472088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60" name="Овал 259"/>
            <p:cNvSpPr/>
            <p:nvPr/>
          </p:nvSpPr>
          <p:spPr>
            <a:xfrm>
              <a:off x="243365" y="1581863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61" name="Овал 260"/>
            <p:cNvSpPr/>
            <p:nvPr/>
          </p:nvSpPr>
          <p:spPr>
            <a:xfrm>
              <a:off x="1131569" y="516254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62" name="Овал 261"/>
            <p:cNvSpPr/>
            <p:nvPr/>
          </p:nvSpPr>
          <p:spPr>
            <a:xfrm>
              <a:off x="738544" y="848676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63" name="Овал 262"/>
            <p:cNvSpPr/>
            <p:nvPr/>
          </p:nvSpPr>
          <p:spPr>
            <a:xfrm>
              <a:off x="1154428" y="242887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64" name="Овал 263"/>
            <p:cNvSpPr/>
            <p:nvPr/>
          </p:nvSpPr>
          <p:spPr>
            <a:xfrm>
              <a:off x="904283" y="191452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65" name="Овал 264"/>
            <p:cNvSpPr/>
            <p:nvPr/>
          </p:nvSpPr>
          <p:spPr>
            <a:xfrm>
              <a:off x="218959" y="944047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66" name="Овал 265"/>
            <p:cNvSpPr/>
            <p:nvPr/>
          </p:nvSpPr>
          <p:spPr>
            <a:xfrm>
              <a:off x="476254" y="355758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67" name="Овал 266"/>
            <p:cNvSpPr/>
            <p:nvPr/>
          </p:nvSpPr>
          <p:spPr>
            <a:xfrm>
              <a:off x="337426" y="116206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68" name="Овал 267"/>
            <p:cNvSpPr/>
            <p:nvPr/>
          </p:nvSpPr>
          <p:spPr>
            <a:xfrm>
              <a:off x="412909" y="24290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69" name="Овал 268"/>
            <p:cNvSpPr/>
            <p:nvPr/>
          </p:nvSpPr>
          <p:spPr>
            <a:xfrm>
              <a:off x="850583" y="16193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270" name="Прямая соединительная линия 269"/>
            <p:cNvCxnSpPr/>
            <p:nvPr/>
          </p:nvCxnSpPr>
          <p:spPr>
            <a:xfrm>
              <a:off x="603884" y="0"/>
              <a:ext cx="72868" cy="47149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1" name="Овал 270"/>
            <p:cNvSpPr/>
            <p:nvPr/>
          </p:nvSpPr>
          <p:spPr>
            <a:xfrm>
              <a:off x="678177" y="38339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2" name="Овал 271"/>
            <p:cNvSpPr/>
            <p:nvPr/>
          </p:nvSpPr>
          <p:spPr>
            <a:xfrm>
              <a:off x="1042510" y="5001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3" name="Овал 272"/>
            <p:cNvSpPr/>
            <p:nvPr/>
          </p:nvSpPr>
          <p:spPr>
            <a:xfrm>
              <a:off x="-477" y="1709976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4" name="Полилиния 273"/>
            <p:cNvSpPr/>
            <p:nvPr/>
          </p:nvSpPr>
          <p:spPr>
            <a:xfrm>
              <a:off x="0" y="1562100"/>
              <a:ext cx="590550" cy="631825"/>
            </a:xfrm>
            <a:custGeom>
              <a:avLst/>
              <a:gdLst>
                <a:gd name="connsiteX0" fmla="*/ 590550 w 590550"/>
                <a:gd name="connsiteY0" fmla="*/ 0 h 631825"/>
                <a:gd name="connsiteX1" fmla="*/ 393700 w 590550"/>
                <a:gd name="connsiteY1" fmla="*/ 282575 h 631825"/>
                <a:gd name="connsiteX2" fmla="*/ 212725 w 590550"/>
                <a:gd name="connsiteY2" fmla="*/ 323850 h 631825"/>
                <a:gd name="connsiteX3" fmla="*/ 0 w 590550"/>
                <a:gd name="connsiteY3" fmla="*/ 631825 h 631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0550" h="631825">
                  <a:moveTo>
                    <a:pt x="590550" y="0"/>
                  </a:moveTo>
                  <a:lnTo>
                    <a:pt x="393700" y="282575"/>
                  </a:lnTo>
                  <a:lnTo>
                    <a:pt x="212725" y="323850"/>
                  </a:lnTo>
                  <a:lnTo>
                    <a:pt x="0" y="631825"/>
                  </a:lnTo>
                </a:path>
              </a:pathLst>
            </a:custGeom>
            <a:noFill/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5" name="Овал 274"/>
            <p:cNvSpPr/>
            <p:nvPr/>
          </p:nvSpPr>
          <p:spPr>
            <a:xfrm>
              <a:off x="573638" y="1515419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6" name="Полилиния 275"/>
            <p:cNvSpPr/>
            <p:nvPr/>
          </p:nvSpPr>
          <p:spPr>
            <a:xfrm>
              <a:off x="0" y="1600200"/>
              <a:ext cx="869156" cy="1035844"/>
            </a:xfrm>
            <a:custGeom>
              <a:avLst/>
              <a:gdLst>
                <a:gd name="connsiteX0" fmla="*/ 869156 w 869156"/>
                <a:gd name="connsiteY0" fmla="*/ 0 h 1035844"/>
                <a:gd name="connsiteX1" fmla="*/ 595313 w 869156"/>
                <a:gd name="connsiteY1" fmla="*/ 395288 h 1035844"/>
                <a:gd name="connsiteX2" fmla="*/ 426244 w 869156"/>
                <a:gd name="connsiteY2" fmla="*/ 414338 h 1035844"/>
                <a:gd name="connsiteX3" fmla="*/ 0 w 869156"/>
                <a:gd name="connsiteY3" fmla="*/ 1035844 h 1035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9156" h="1035844">
                  <a:moveTo>
                    <a:pt x="869156" y="0"/>
                  </a:moveTo>
                  <a:lnTo>
                    <a:pt x="595313" y="395288"/>
                  </a:lnTo>
                  <a:lnTo>
                    <a:pt x="426244" y="414338"/>
                  </a:lnTo>
                  <a:lnTo>
                    <a:pt x="0" y="1035844"/>
                  </a:lnTo>
                </a:path>
              </a:pathLst>
            </a:custGeom>
            <a:noFill/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7" name="Полилиния 276"/>
            <p:cNvSpPr/>
            <p:nvPr/>
          </p:nvSpPr>
          <p:spPr>
            <a:xfrm>
              <a:off x="119063" y="1921669"/>
              <a:ext cx="357187" cy="302419"/>
            </a:xfrm>
            <a:custGeom>
              <a:avLst/>
              <a:gdLst>
                <a:gd name="connsiteX0" fmla="*/ 357187 w 357187"/>
                <a:gd name="connsiteY0" fmla="*/ 0 h 302419"/>
                <a:gd name="connsiteX1" fmla="*/ 200025 w 357187"/>
                <a:gd name="connsiteY1" fmla="*/ 19050 h 302419"/>
                <a:gd name="connsiteX2" fmla="*/ 0 w 357187"/>
                <a:gd name="connsiteY2" fmla="*/ 302419 h 302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57187" h="302419">
                  <a:moveTo>
                    <a:pt x="357187" y="0"/>
                  </a:moveTo>
                  <a:lnTo>
                    <a:pt x="200025" y="19050"/>
                  </a:lnTo>
                  <a:lnTo>
                    <a:pt x="0" y="302419"/>
                  </a:lnTo>
                </a:path>
              </a:pathLst>
            </a:custGeom>
            <a:noFill/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8" name="Полилиния 277"/>
            <p:cNvSpPr/>
            <p:nvPr/>
          </p:nvSpPr>
          <p:spPr>
            <a:xfrm>
              <a:off x="-2381" y="2114550"/>
              <a:ext cx="514350" cy="747713"/>
            </a:xfrm>
            <a:custGeom>
              <a:avLst/>
              <a:gdLst>
                <a:gd name="connsiteX0" fmla="*/ 514350 w 514350"/>
                <a:gd name="connsiteY0" fmla="*/ 0 h 747713"/>
                <a:gd name="connsiteX1" fmla="*/ 0 w 514350"/>
                <a:gd name="connsiteY1" fmla="*/ 747713 h 747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4350" h="747713">
                  <a:moveTo>
                    <a:pt x="514350" y="0"/>
                  </a:moveTo>
                  <a:lnTo>
                    <a:pt x="0" y="747713"/>
                  </a:lnTo>
                </a:path>
              </a:pathLst>
            </a:custGeom>
            <a:noFill/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9" name="Овал 278"/>
            <p:cNvSpPr/>
            <p:nvPr/>
          </p:nvSpPr>
          <p:spPr>
            <a:xfrm>
              <a:off x="858564" y="1554481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80" name="Овал 279"/>
            <p:cNvSpPr/>
            <p:nvPr/>
          </p:nvSpPr>
          <p:spPr>
            <a:xfrm>
              <a:off x="476254" y="1889997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81" name="Овал 280"/>
            <p:cNvSpPr/>
            <p:nvPr/>
          </p:nvSpPr>
          <p:spPr>
            <a:xfrm>
              <a:off x="89058" y="2218848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82" name="Овал 281"/>
            <p:cNvSpPr/>
            <p:nvPr/>
          </p:nvSpPr>
          <p:spPr>
            <a:xfrm>
              <a:off x="17621" y="2337912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83" name="Овал 282"/>
            <p:cNvSpPr/>
            <p:nvPr/>
          </p:nvSpPr>
          <p:spPr>
            <a:xfrm>
              <a:off x="507207" y="2068831"/>
              <a:ext cx="45719" cy="4571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cxnSp>
        <p:nvCxnSpPr>
          <p:cNvPr id="301" name="Прямая соединительная линия 300"/>
          <p:cNvCxnSpPr/>
          <p:nvPr userDrawn="1"/>
        </p:nvCxnSpPr>
        <p:spPr>
          <a:xfrm flipV="1">
            <a:off x="9852409" y="5311589"/>
            <a:ext cx="50511" cy="75302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7" name="Прямоугольник 286"/>
          <p:cNvSpPr/>
          <p:nvPr userDrawn="1"/>
        </p:nvSpPr>
        <p:spPr>
          <a:xfrm>
            <a:off x="0" y="0"/>
            <a:ext cx="108033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89" name="Picture 2" descr="C:\Users\edagapova\Desktop\Безымянный-1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59764" r="87" b="5732"/>
          <a:stretch/>
        </p:blipFill>
        <p:spPr bwMode="auto">
          <a:xfrm>
            <a:off x="-19050" y="1992740"/>
            <a:ext cx="1093035" cy="4785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Прямая соединительная линия 9"/>
          <p:cNvCxnSpPr/>
          <p:nvPr userDrawn="1"/>
        </p:nvCxnSpPr>
        <p:spPr>
          <a:xfrm>
            <a:off x="1844675" y="4057082"/>
            <a:ext cx="7546975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5024590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4337411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7721" name="think-cell Slide" r:id="rId4" imgW="360" imgH="360" progId="">
              <p:embed/>
            </p:oleObj>
          </a:graphicData>
        </a:graphic>
      </p:graphicFrame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656115" y="3429000"/>
            <a:ext cx="6740297" cy="630464"/>
          </a:xfrm>
          <a:prstGeom prst="rect">
            <a:avLst/>
          </a:prstGeom>
        </p:spPr>
        <p:txBody>
          <a:bodyPr anchor="b" anchorCtr="0"/>
          <a:lstStyle>
            <a:lvl1pPr algn="l">
              <a:defRPr sz="32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Спасибо за внимание!</a:t>
            </a:r>
            <a:endParaRPr lang="ru-RU" dirty="0"/>
          </a:p>
        </p:txBody>
      </p:sp>
      <p:pic>
        <p:nvPicPr>
          <p:cNvPr id="11266" name="Picture 2" descr="C:\Users\aflunina\Desktop\Библиотека\Логотипы\СИБИНТЕК\2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6217" t="29736" r="3750" b="32910"/>
          <a:stretch/>
        </p:blipFill>
        <p:spPr bwMode="auto">
          <a:xfrm>
            <a:off x="1553029" y="1969287"/>
            <a:ext cx="2615111" cy="766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Группа 2"/>
          <p:cNvGrpSpPr/>
          <p:nvPr userDrawn="1"/>
        </p:nvGrpSpPr>
        <p:grpSpPr>
          <a:xfrm>
            <a:off x="1612900" y="3513364"/>
            <a:ext cx="7761288" cy="546100"/>
            <a:chOff x="768350" y="403225"/>
            <a:chExt cx="7761288" cy="546100"/>
          </a:xfrm>
        </p:grpSpPr>
        <p:sp>
          <p:nvSpPr>
            <p:cNvPr id="6" name="Полилиния 5"/>
            <p:cNvSpPr/>
            <p:nvPr/>
          </p:nvSpPr>
          <p:spPr>
            <a:xfrm>
              <a:off x="768350" y="403225"/>
              <a:ext cx="603250" cy="546100"/>
            </a:xfrm>
            <a:custGeom>
              <a:avLst/>
              <a:gdLst>
                <a:gd name="connsiteX0" fmla="*/ 0 w 603250"/>
                <a:gd name="connsiteY0" fmla="*/ 6350 h 546100"/>
                <a:gd name="connsiteX1" fmla="*/ 0 w 603250"/>
                <a:gd name="connsiteY1" fmla="*/ 546100 h 546100"/>
                <a:gd name="connsiteX2" fmla="*/ 425450 w 603250"/>
                <a:gd name="connsiteY2" fmla="*/ 546100 h 546100"/>
                <a:gd name="connsiteX3" fmla="*/ 603250 w 603250"/>
                <a:gd name="connsiteY3" fmla="*/ 0 h 546100"/>
                <a:gd name="connsiteX4" fmla="*/ 260350 w 603250"/>
                <a:gd name="connsiteY4" fmla="*/ 0 h 54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250" h="546100">
                  <a:moveTo>
                    <a:pt x="0" y="6350"/>
                  </a:moveTo>
                  <a:lnTo>
                    <a:pt x="0" y="546100"/>
                  </a:lnTo>
                  <a:lnTo>
                    <a:pt x="425450" y="546100"/>
                  </a:lnTo>
                  <a:lnTo>
                    <a:pt x="603250" y="0"/>
                  </a:lnTo>
                  <a:lnTo>
                    <a:pt x="260350" y="0"/>
                  </a:lnTo>
                </a:path>
              </a:pathLst>
            </a:custGeom>
            <a:noFill/>
            <a:ln w="28575">
              <a:solidFill>
                <a:srgbClr val="F7CD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7" name="Прямая соединительная линия 6"/>
            <p:cNvCxnSpPr/>
            <p:nvPr/>
          </p:nvCxnSpPr>
          <p:spPr>
            <a:xfrm flipH="1">
              <a:off x="1291167" y="403225"/>
              <a:ext cx="165100" cy="546100"/>
            </a:xfrm>
            <a:prstGeom prst="line">
              <a:avLst/>
            </a:prstGeom>
            <a:ln w="28575">
              <a:solidFill>
                <a:srgbClr val="F7CD3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Прямая соединительная линия 7"/>
            <p:cNvCxnSpPr/>
            <p:nvPr/>
          </p:nvCxnSpPr>
          <p:spPr>
            <a:xfrm flipH="1">
              <a:off x="1375834" y="403225"/>
              <a:ext cx="165100" cy="546100"/>
            </a:xfrm>
            <a:prstGeom prst="line">
              <a:avLst/>
            </a:prstGeom>
            <a:ln w="28575">
              <a:solidFill>
                <a:srgbClr val="F7CD3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Полилиния 8"/>
            <p:cNvSpPr/>
            <p:nvPr/>
          </p:nvSpPr>
          <p:spPr>
            <a:xfrm>
              <a:off x="1460500" y="403225"/>
              <a:ext cx="7069138" cy="546100"/>
            </a:xfrm>
            <a:custGeom>
              <a:avLst/>
              <a:gdLst>
                <a:gd name="connsiteX0" fmla="*/ 158750 w 7245350"/>
                <a:gd name="connsiteY0" fmla="*/ 0 h 546100"/>
                <a:gd name="connsiteX1" fmla="*/ 0 w 7245350"/>
                <a:gd name="connsiteY1" fmla="*/ 546100 h 546100"/>
                <a:gd name="connsiteX2" fmla="*/ 7245350 w 7245350"/>
                <a:gd name="connsiteY2" fmla="*/ 546100 h 546100"/>
                <a:gd name="connsiteX0" fmla="*/ 158750 w 7069138"/>
                <a:gd name="connsiteY0" fmla="*/ 0 h 546100"/>
                <a:gd name="connsiteX1" fmla="*/ 0 w 7069138"/>
                <a:gd name="connsiteY1" fmla="*/ 546100 h 546100"/>
                <a:gd name="connsiteX2" fmla="*/ 7069138 w 7069138"/>
                <a:gd name="connsiteY2" fmla="*/ 541337 h 54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069138" h="546100">
                  <a:moveTo>
                    <a:pt x="158750" y="0"/>
                  </a:moveTo>
                  <a:lnTo>
                    <a:pt x="0" y="546100"/>
                  </a:lnTo>
                  <a:lnTo>
                    <a:pt x="7069138" y="541337"/>
                  </a:lnTo>
                </a:path>
              </a:pathLst>
            </a:custGeom>
            <a:noFill/>
            <a:ln w="28575">
              <a:solidFill>
                <a:srgbClr val="F7CD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xmlns="" val="11705260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58240" y="268512"/>
            <a:ext cx="7725409" cy="600437"/>
          </a:xfrm>
          <a:prstGeom prst="rect">
            <a:avLst/>
          </a:prstGeom>
        </p:spPr>
        <p:txBody>
          <a:bodyPr rtlCol="0">
            <a:normAutofit/>
          </a:bodyPr>
          <a:lstStyle>
            <a:lvl1pPr algn="l" defTabSz="914296" rtl="0" eaLnBrk="1" latinLnBrk="0" hangingPunct="1">
              <a:spcBef>
                <a:spcPct val="0"/>
              </a:spcBef>
              <a:buNone/>
              <a:defRPr kumimoji="1" lang="ru-RU" sz="2100" kern="1200" dirty="0">
                <a:solidFill>
                  <a:srgbClr val="3D464A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pPr lvl="0" algn="l" rtl="0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8742119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>
              <a:defRPr/>
            </a:pPr>
            <a:fld id="{96E04624-3BFF-4BFA-957C-125A2287D44D}" type="datetime1">
              <a:rPr lang="ru-RU"/>
              <a:pPr>
                <a:defRPr/>
              </a:pPr>
              <a:t>17.07.2020</a:t>
            </a:fld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>
              <a:defRPr/>
            </a:pPr>
            <a:fld id="{A389016D-F37E-4E13-96B8-60312EBB540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3144863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heme" Target="../theme/theme2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oleObject" Target="../embeddings/oleObject4.bin"/><Relationship Id="rId5" Type="http://schemas.openxmlformats.org/officeDocument/2006/relationships/tags" Target="../tags/tag5.xml"/><Relationship Id="rId4" Type="http://schemas.openxmlformats.org/officeDocument/2006/relationships/vmlDrawing" Target="../drawings/vmlDrawing4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xmlns="" val="36913971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2419" name="think-cell Slide" r:id="rId6" imgW="360" imgH="360" progId="">
              <p:embed/>
            </p:oleObj>
          </a:graphicData>
        </a:graphic>
      </p:graphicFrame>
      <p:sp>
        <p:nvSpPr>
          <p:cNvPr id="4" name="Дата 3"/>
          <p:cNvSpPr txBox="1">
            <a:spLocks/>
          </p:cNvSpPr>
          <p:nvPr userDrawn="1"/>
        </p:nvSpPr>
        <p:spPr>
          <a:xfrm>
            <a:off x="1844675" y="6325358"/>
            <a:ext cx="2079072" cy="365125"/>
          </a:xfrm>
          <a:prstGeom prst="rect">
            <a:avLst/>
          </a:prstGeom>
        </p:spPr>
        <p:txBody>
          <a:bodyPr lIns="0" tIns="45715" rIns="91429" bIns="45715" anchor="ctr"/>
          <a:lstStyle>
            <a:defPPr>
              <a:defRPr lang="ru-RU"/>
            </a:defPPr>
            <a:lvl1pPr>
              <a:defRPr sz="1400" i="0">
                <a:solidFill>
                  <a:srgbClr val="898989"/>
                </a:solidFill>
                <a:latin typeface="EuropeCondensedC"/>
              </a:defRPr>
            </a:lvl1pPr>
          </a:lstStyle>
          <a:p>
            <a:pPr>
              <a:defRPr/>
            </a:pPr>
            <a:fld id="{CC335A15-C5BB-47EE-8DD2-E17A8A2B582F}" type="datetimeFigureOut">
              <a:rPr lang="ru-RU" smtClean="0">
                <a:solidFill>
                  <a:srgbClr val="6B6B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>
                <a:defRPr/>
              </a:pPr>
              <a:t>17.07.2020</a:t>
            </a:fld>
            <a:endParaRPr lang="ru-RU" dirty="0" smtClean="0">
              <a:solidFill>
                <a:srgbClr val="6B6B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rgbClr val="898989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fld id="{3CC62AE5-35FC-4DD2-823B-2EC3C3B2C6E1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xmlns="" val="3419338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4694" name="think-cell Slide" r:id="rId6" imgW="360" imgH="360" progId="">
              <p:embed/>
            </p:oleObj>
          </a:graphicData>
        </a:graphic>
      </p:graphicFrame>
      <p:sp>
        <p:nvSpPr>
          <p:cNvPr id="14" name="Заголовок 1"/>
          <p:cNvSpPr>
            <a:spLocks noGrp="1"/>
          </p:cNvSpPr>
          <p:nvPr>
            <p:ph type="title"/>
          </p:nvPr>
        </p:nvSpPr>
        <p:spPr bwMode="auto">
          <a:xfrm>
            <a:off x="1158240" y="268512"/>
            <a:ext cx="7725409" cy="600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</a:bodyPr>
          <a:lstStyle/>
          <a:p>
            <a:pPr lvl="0"/>
            <a:endParaRPr lang="ru-RU" altLang="ru-RU" dirty="0" smtClean="0"/>
          </a:p>
        </p:txBody>
      </p:sp>
      <p:sp>
        <p:nvSpPr>
          <p:cNvPr id="15" name="Текст 2"/>
          <p:cNvSpPr>
            <a:spLocks noGrp="1"/>
          </p:cNvSpPr>
          <p:nvPr>
            <p:ph type="body" idx="1"/>
          </p:nvPr>
        </p:nvSpPr>
        <p:spPr bwMode="auto">
          <a:xfrm>
            <a:off x="495300" y="1238250"/>
            <a:ext cx="8915400" cy="4887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9" tIns="45715" rIns="91429" bIns="4571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dirty="0" smtClean="0"/>
              <a:t>Образец текста</a:t>
            </a:r>
          </a:p>
          <a:p>
            <a:pPr lvl="1"/>
            <a:r>
              <a:rPr lang="ru-RU" altLang="ru-RU" dirty="0" smtClean="0"/>
              <a:t>Второй уровень</a:t>
            </a:r>
          </a:p>
          <a:p>
            <a:pPr lvl="2"/>
            <a:r>
              <a:rPr lang="ru-RU" altLang="ru-RU" dirty="0" smtClean="0"/>
              <a:t>Третий уровень</a:t>
            </a:r>
          </a:p>
          <a:p>
            <a:pPr lvl="3"/>
            <a:r>
              <a:rPr lang="ru-RU" altLang="ru-RU" dirty="0" smtClean="0"/>
              <a:t>Четвертый уровень</a:t>
            </a:r>
          </a:p>
          <a:p>
            <a:pPr lvl="4"/>
            <a:r>
              <a:rPr lang="ru-RU" altLang="ru-RU" dirty="0" smtClean="0"/>
              <a:t>Пятый уровень</a:t>
            </a:r>
          </a:p>
        </p:txBody>
      </p:sp>
      <p:sp>
        <p:nvSpPr>
          <p:cNvPr id="16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</a:bodyPr>
          <a:lstStyle>
            <a:lvl1pPr>
              <a:defRPr sz="1100" i="0">
                <a:solidFill>
                  <a:srgbClr val="898989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fld id="{90D11A3A-2143-49B0-96E2-01D3CD43263D}" type="datetime1">
              <a:rPr lang="ru-RU" smtClean="0"/>
              <a:pPr>
                <a:defRPr/>
              </a:pPr>
              <a:t>17.07.2020</a:t>
            </a:fld>
            <a:endParaRPr lang="ru-RU" dirty="0"/>
          </a:p>
        </p:txBody>
      </p:sp>
      <p:sp>
        <p:nvSpPr>
          <p:cNvPr id="17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rgbClr val="898989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fld id="{3CC62AE5-35FC-4DD2-823B-2EC3C3B2C6E1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18" name="Полилиния 17"/>
          <p:cNvSpPr/>
          <p:nvPr userDrawn="1"/>
        </p:nvSpPr>
        <p:spPr>
          <a:xfrm>
            <a:off x="381182" y="268513"/>
            <a:ext cx="399392" cy="612321"/>
          </a:xfrm>
          <a:custGeom>
            <a:avLst/>
            <a:gdLst>
              <a:gd name="connsiteX0" fmla="*/ 0 w 603250"/>
              <a:gd name="connsiteY0" fmla="*/ 6350 h 546100"/>
              <a:gd name="connsiteX1" fmla="*/ 0 w 603250"/>
              <a:gd name="connsiteY1" fmla="*/ 546100 h 546100"/>
              <a:gd name="connsiteX2" fmla="*/ 425450 w 603250"/>
              <a:gd name="connsiteY2" fmla="*/ 546100 h 546100"/>
              <a:gd name="connsiteX3" fmla="*/ 603250 w 603250"/>
              <a:gd name="connsiteY3" fmla="*/ 0 h 546100"/>
              <a:gd name="connsiteX4" fmla="*/ 260350 w 603250"/>
              <a:gd name="connsiteY4" fmla="*/ 0 h 546100"/>
              <a:gd name="connsiteX0" fmla="*/ 0 w 603250"/>
              <a:gd name="connsiteY0" fmla="*/ 546100 h 546100"/>
              <a:gd name="connsiteX1" fmla="*/ 425450 w 603250"/>
              <a:gd name="connsiteY1" fmla="*/ 546100 h 546100"/>
              <a:gd name="connsiteX2" fmla="*/ 603250 w 603250"/>
              <a:gd name="connsiteY2" fmla="*/ 0 h 546100"/>
              <a:gd name="connsiteX3" fmla="*/ 260350 w 603250"/>
              <a:gd name="connsiteY3" fmla="*/ 0 h 546100"/>
              <a:gd name="connsiteX0" fmla="*/ 165100 w 342900"/>
              <a:gd name="connsiteY0" fmla="*/ 546100 h 546100"/>
              <a:gd name="connsiteX1" fmla="*/ 342900 w 342900"/>
              <a:gd name="connsiteY1" fmla="*/ 0 h 546100"/>
              <a:gd name="connsiteX2" fmla="*/ 0 w 342900"/>
              <a:gd name="connsiteY2" fmla="*/ 0 h 546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2900" h="546100">
                <a:moveTo>
                  <a:pt x="165100" y="546100"/>
                </a:moveTo>
                <a:lnTo>
                  <a:pt x="342900" y="0"/>
                </a:lnTo>
                <a:lnTo>
                  <a:pt x="0" y="0"/>
                </a:lnTo>
              </a:path>
            </a:pathLst>
          </a:custGeom>
          <a:noFill/>
          <a:ln w="28575">
            <a:solidFill>
              <a:srgbClr val="F7CD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9" name="Прямая соединительная линия 18"/>
          <p:cNvCxnSpPr/>
          <p:nvPr userDrawn="1"/>
        </p:nvCxnSpPr>
        <p:spPr>
          <a:xfrm flipH="1">
            <a:off x="686890" y="268513"/>
            <a:ext cx="192300" cy="612321"/>
          </a:xfrm>
          <a:prstGeom prst="line">
            <a:avLst/>
          </a:prstGeom>
          <a:ln w="28575">
            <a:solidFill>
              <a:srgbClr val="F7CD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/>
          <p:nvPr userDrawn="1"/>
        </p:nvCxnSpPr>
        <p:spPr>
          <a:xfrm flipH="1">
            <a:off x="785505" y="268513"/>
            <a:ext cx="192300" cy="612321"/>
          </a:xfrm>
          <a:prstGeom prst="line">
            <a:avLst/>
          </a:prstGeom>
          <a:ln w="28575">
            <a:solidFill>
              <a:srgbClr val="F7CD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Полилиния 20"/>
          <p:cNvSpPr/>
          <p:nvPr userDrawn="1"/>
        </p:nvSpPr>
        <p:spPr>
          <a:xfrm>
            <a:off x="884120" y="268513"/>
            <a:ext cx="8233754" cy="612321"/>
          </a:xfrm>
          <a:custGeom>
            <a:avLst/>
            <a:gdLst>
              <a:gd name="connsiteX0" fmla="*/ 158750 w 7245350"/>
              <a:gd name="connsiteY0" fmla="*/ 0 h 546100"/>
              <a:gd name="connsiteX1" fmla="*/ 0 w 7245350"/>
              <a:gd name="connsiteY1" fmla="*/ 546100 h 546100"/>
              <a:gd name="connsiteX2" fmla="*/ 7245350 w 7245350"/>
              <a:gd name="connsiteY2" fmla="*/ 546100 h 546100"/>
              <a:gd name="connsiteX0" fmla="*/ 158750 w 7069138"/>
              <a:gd name="connsiteY0" fmla="*/ 0 h 546100"/>
              <a:gd name="connsiteX1" fmla="*/ 0 w 7069138"/>
              <a:gd name="connsiteY1" fmla="*/ 546100 h 546100"/>
              <a:gd name="connsiteX2" fmla="*/ 7069138 w 7069138"/>
              <a:gd name="connsiteY2" fmla="*/ 541337 h 546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069138" h="546100">
                <a:moveTo>
                  <a:pt x="158750" y="0"/>
                </a:moveTo>
                <a:lnTo>
                  <a:pt x="0" y="546100"/>
                </a:lnTo>
                <a:lnTo>
                  <a:pt x="7069138" y="541337"/>
                </a:lnTo>
              </a:path>
            </a:pathLst>
          </a:custGeom>
          <a:noFill/>
          <a:ln w="28575">
            <a:solidFill>
              <a:srgbClr val="F7CD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рямоугольник 21"/>
          <p:cNvSpPr/>
          <p:nvPr userDrawn="1"/>
        </p:nvSpPr>
        <p:spPr>
          <a:xfrm>
            <a:off x="8770620" y="813887"/>
            <a:ext cx="353787" cy="1101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3" name="Picture 2" descr="C:\Users\aflunina\Desktop\Библиотека\Логотипы\СИБИНТЕК\2.pn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6217" t="29736" r="67401" b="32910"/>
          <a:stretch/>
        </p:blipFill>
        <p:spPr bwMode="auto">
          <a:xfrm>
            <a:off x="8929553" y="288833"/>
            <a:ext cx="611990" cy="6123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95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100" kern="1200">
          <a:solidFill>
            <a:srgbClr val="3D464A"/>
          </a:solidFill>
          <a:latin typeface="+mn-lt"/>
          <a:ea typeface="Arial" charset="0"/>
          <a:cs typeface="Arial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>
          <a:solidFill>
            <a:srgbClr val="3D464A"/>
          </a:solidFill>
          <a:latin typeface="Europe" pitchFamily="2" charset="0"/>
          <a:ea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>
          <a:solidFill>
            <a:srgbClr val="3D464A"/>
          </a:solidFill>
          <a:latin typeface="Europe" pitchFamily="2" charset="0"/>
          <a:ea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>
          <a:solidFill>
            <a:srgbClr val="3D464A"/>
          </a:solidFill>
          <a:latin typeface="Europe" pitchFamily="2" charset="0"/>
          <a:ea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>
          <a:solidFill>
            <a:srgbClr val="3D464A"/>
          </a:solidFill>
          <a:latin typeface="Europe" pitchFamily="2" charset="0"/>
          <a:ea typeface="Arial" charset="0"/>
          <a:cs typeface="Arial" charset="0"/>
        </a:defRPr>
      </a:lvl5pPr>
      <a:lvl6pPr marL="457148" algn="l" rtl="0" fontAlgn="base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6pPr>
      <a:lvl7pPr marL="914296" algn="l" rtl="0" fontAlgn="base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7pPr>
      <a:lvl8pPr marL="1371445" algn="l" rtl="0" fontAlgn="base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8pPr>
      <a:lvl9pPr marL="1828592" algn="l" rtl="0" fontAlgn="base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9pPr>
    </p:titleStyle>
    <p:bodyStyle>
      <a:lvl1pPr marL="341313" indent="-341313" algn="l" rtl="0" eaLnBrk="0" fontAlgn="base" hangingPunct="0">
        <a:spcBef>
          <a:spcPct val="20000"/>
        </a:spcBef>
        <a:spcAft>
          <a:spcPct val="0"/>
        </a:spcAft>
        <a:buSzPct val="80000"/>
        <a:buBlip>
          <a:blip r:embed="rId8"/>
        </a:buBlip>
        <a:defRPr kumimoji="1" sz="1200" kern="1200">
          <a:solidFill>
            <a:srgbClr val="3D464A"/>
          </a:solidFill>
          <a:latin typeface="+mn-lt"/>
          <a:ea typeface="Arial" charset="0"/>
          <a:cs typeface="Arial" charset="0"/>
        </a:defRPr>
      </a:lvl1pPr>
      <a:lvl2pPr marL="741363" indent="-284163" algn="l" rtl="0" eaLnBrk="0" fontAlgn="base" hangingPunct="0">
        <a:spcBef>
          <a:spcPct val="20000"/>
        </a:spcBef>
        <a:spcAft>
          <a:spcPct val="0"/>
        </a:spcAft>
        <a:buClr>
          <a:srgbClr val="FED208"/>
        </a:buClr>
        <a:buSzPct val="120000"/>
        <a:buFont typeface="Arial" charset="0"/>
        <a:buChar char="•"/>
        <a:defRPr kumimoji="1" sz="1200" kern="1200">
          <a:solidFill>
            <a:srgbClr val="3D464A"/>
          </a:solidFill>
          <a:latin typeface="+mn-lt"/>
          <a:ea typeface="Arial" charset="0"/>
          <a:cs typeface="Arial" pitchFamily="34" charset="0"/>
        </a:defRPr>
      </a:lvl2pPr>
      <a:lvl3pPr marL="1141413" indent="-227013" algn="l" rtl="0" eaLnBrk="0" fontAlgn="base" hangingPunct="0">
        <a:spcBef>
          <a:spcPct val="20000"/>
        </a:spcBef>
        <a:spcAft>
          <a:spcPct val="0"/>
        </a:spcAft>
        <a:buClr>
          <a:srgbClr val="FED208"/>
        </a:buClr>
        <a:buSzPct val="96000"/>
        <a:buFont typeface="Wingdings" pitchFamily="2" charset="2"/>
        <a:buChar char="§"/>
        <a:defRPr kumimoji="1" sz="1200" kern="1200">
          <a:solidFill>
            <a:srgbClr val="3D464A"/>
          </a:solidFill>
          <a:latin typeface="+mn-lt"/>
          <a:ea typeface="Arial" charset="0"/>
          <a:cs typeface="Arial" pitchFamily="34" charset="0"/>
        </a:defRPr>
      </a:lvl3pPr>
      <a:lvl4pPr marL="1598613" indent="-227013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umimoji="1" sz="1200" kern="1200">
          <a:solidFill>
            <a:srgbClr val="3D464A"/>
          </a:solidFill>
          <a:latin typeface="+mn-lt"/>
          <a:ea typeface="Arial" charset="0"/>
          <a:cs typeface="Arial" pitchFamily="34" charset="0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Font typeface="Arial" charset="0"/>
        <a:defRPr kumimoji="1" sz="1200" kern="1200">
          <a:solidFill>
            <a:srgbClr val="3D464A"/>
          </a:solidFill>
          <a:latin typeface="+mn-lt"/>
          <a:ea typeface="Arial" charset="0"/>
          <a:cs typeface="Arial" pitchFamily="34" charset="0"/>
        </a:defRPr>
      </a:lvl5pPr>
      <a:lvl6pPr marL="2514314" indent="-228574" algn="l" defTabSz="91429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62" indent="-228574" algn="l" defTabSz="91429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10" indent="-228574" algn="l" defTabSz="91429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58" indent="-228574" algn="l" defTabSz="91429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5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92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4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8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3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84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1844675" y="3814962"/>
            <a:ext cx="6740297" cy="630464"/>
          </a:xfrm>
        </p:spPr>
        <p:txBody>
          <a:bodyPr/>
          <a:lstStyle/>
          <a:p>
            <a:pPr>
              <a:defRPr/>
            </a:pPr>
            <a:r>
              <a:rPr sz="2800" smtClean="0"/>
              <a:t>Интеллектуальная система помощи </a:t>
            </a:r>
            <a:r>
              <a:rPr sz="2800" smtClean="0"/>
              <a:t>в организации закупок</a:t>
            </a:r>
            <a:br>
              <a:rPr sz="2800" smtClean="0"/>
            </a:br>
            <a:endParaRPr lang="ru-RU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1844675" y="4227783"/>
            <a:ext cx="5981699" cy="1872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defRPr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автор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проекта: </a:t>
            </a:r>
            <a:r>
              <a:rPr lang="ru-RU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Тамочкин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Александр Владиславович</a:t>
            </a:r>
            <a:endParaRPr lang="ru-RU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Ведущий специалист отдела разработки портальных решений</a:t>
            </a:r>
          </a:p>
          <a:p>
            <a:pPr>
              <a:defRPr/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Региональный центр в г. Саратов</a:t>
            </a:r>
          </a:p>
          <a:p>
            <a:pPr>
              <a:defRPr/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Филиал «</a:t>
            </a:r>
            <a:r>
              <a:rPr lang="ru-RU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Макрорегион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Центр» ООО ИК «СИБИНТЕК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lang="ru-RU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научный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руководитель: </a:t>
            </a:r>
            <a:r>
              <a:rPr lang="ru-RU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Моисеенко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Алексей Владимирович</a:t>
            </a:r>
            <a:endParaRPr lang="ru-RU" sz="1400" kern="0" dirty="0">
              <a:solidFill>
                <a:srgbClr val="3D464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30"/>
          <p:cNvSpPr txBox="1">
            <a:spLocks noChangeArrowheads="1"/>
          </p:cNvSpPr>
          <p:nvPr/>
        </p:nvSpPr>
        <p:spPr bwMode="auto">
          <a:xfrm>
            <a:off x="5420084" y="1166484"/>
            <a:ext cx="4272189" cy="151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ru-RU"/>
            </a:defPPr>
            <a:lvl1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endParaRPr lang="ru-RU" sz="1400" dirty="0" smtClean="0"/>
          </a:p>
          <a:p>
            <a:pPr algn="ctr"/>
            <a:r>
              <a:rPr lang="ru-RU" sz="1400" dirty="0"/>
              <a:t>Н</a:t>
            </a:r>
            <a:r>
              <a:rPr lang="ru-RU" sz="1400" dirty="0" smtClean="0"/>
              <a:t>аучно</a:t>
            </a:r>
            <a:r>
              <a:rPr lang="en-US" sz="1400" dirty="0" smtClean="0"/>
              <a:t>-</a:t>
            </a:r>
            <a:r>
              <a:rPr lang="ru-RU" sz="1400" dirty="0" smtClean="0"/>
              <a:t>техническая </a:t>
            </a:r>
            <a:r>
              <a:rPr lang="ru-RU" sz="1400" dirty="0"/>
              <a:t>конференция </a:t>
            </a:r>
          </a:p>
          <a:p>
            <a:pPr algn="ctr"/>
            <a:r>
              <a:rPr lang="ru-RU" sz="1400" dirty="0"/>
              <a:t>молодых специалистов </a:t>
            </a:r>
            <a:endParaRPr lang="ru-RU" sz="1400" dirty="0" smtClean="0"/>
          </a:p>
          <a:p>
            <a:pPr algn="ctr"/>
            <a:r>
              <a:rPr lang="ru-RU" sz="1400" dirty="0" smtClean="0"/>
              <a:t>ООО ИК «СИБИНТЕК»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xmlns="" val="476959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Прямоугольник 32"/>
          <p:cNvSpPr/>
          <p:nvPr/>
        </p:nvSpPr>
        <p:spPr>
          <a:xfrm>
            <a:off x="642938" y="1847850"/>
            <a:ext cx="4860925" cy="29956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ru-RU" altLang="ru-RU" sz="1600" dirty="0" smtClean="0">
                <a:solidFill>
                  <a:schemeClr val="tx1"/>
                </a:solidFill>
                <a:cs typeface="Arial" panose="020B0604020202020204" pitchFamily="34" charset="0"/>
              </a:rPr>
              <a:t>Самым </a:t>
            </a:r>
            <a:r>
              <a:rPr lang="ru-RU" altLang="ru-RU" sz="1600" dirty="0" smtClean="0">
                <a:solidFill>
                  <a:schemeClr val="tx1"/>
                </a:solidFill>
                <a:cs typeface="Arial" panose="020B0604020202020204" pitchFamily="34" charset="0"/>
              </a:rPr>
              <a:t>большим препятствием на этом пути являются сотрудники, не заинтересованные в повышении качества своей работы. Это может объясняться несколькими </a:t>
            </a:r>
            <a:r>
              <a:rPr lang="ru-RU" altLang="ru-RU" sz="1600" dirty="0" smtClean="0">
                <a:solidFill>
                  <a:schemeClr val="tx1"/>
                </a:solidFill>
                <a:cs typeface="Arial" panose="020B0604020202020204" pitchFamily="34" charset="0"/>
              </a:rPr>
              <a:t>причинами</a:t>
            </a:r>
            <a:r>
              <a:rPr lang="en-US" altLang="ru-RU" sz="1600" dirty="0" smtClean="0">
                <a:solidFill>
                  <a:schemeClr val="tx1"/>
                </a:solidFill>
                <a:cs typeface="Arial" panose="020B0604020202020204" pitchFamily="34" charset="0"/>
              </a:rPr>
              <a:t>:</a:t>
            </a:r>
            <a:endParaRPr lang="ru-RU" altLang="ru-RU" sz="160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72000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ru-RU" altLang="ru-RU" sz="1600" dirty="0" smtClean="0">
                <a:solidFill>
                  <a:schemeClr val="tx1"/>
                </a:solidFill>
                <a:cs typeface="Arial" panose="020B0604020202020204" pitchFamily="34" charset="0"/>
              </a:rPr>
              <a:t>Самая распространенная из них — простая человеческая </a:t>
            </a:r>
            <a:r>
              <a:rPr lang="ru-RU" altLang="ru-RU" sz="1600" dirty="0" smtClean="0">
                <a:solidFill>
                  <a:schemeClr val="tx1"/>
                </a:solidFill>
                <a:cs typeface="Arial" panose="020B0604020202020204" pitchFamily="34" charset="0"/>
              </a:rPr>
              <a:t>лень</a:t>
            </a:r>
            <a:r>
              <a:rPr lang="en-US" altLang="ru-RU" sz="1600" dirty="0" smtClean="0">
                <a:solidFill>
                  <a:schemeClr val="tx1"/>
                </a:solidFill>
                <a:cs typeface="Arial" panose="020B0604020202020204" pitchFamily="34" charset="0"/>
              </a:rPr>
              <a:t>.</a:t>
            </a:r>
            <a:endParaRPr lang="ru-RU" altLang="ru-RU" sz="160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72000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ru-RU" altLang="ru-RU" sz="1600" dirty="0" smtClean="0">
                <a:solidFill>
                  <a:schemeClr val="tx1"/>
                </a:solidFill>
                <a:cs typeface="Arial" panose="020B0604020202020204" pitchFamily="34" charset="0"/>
              </a:rPr>
              <a:t>Вторая </a:t>
            </a:r>
            <a:r>
              <a:rPr lang="ru-RU" altLang="ru-RU" sz="1600" dirty="0" smtClean="0">
                <a:solidFill>
                  <a:schemeClr val="tx1"/>
                </a:solidFill>
                <a:cs typeface="Arial" panose="020B0604020202020204" pitchFamily="34" charset="0"/>
              </a:rPr>
              <a:t>причина</a:t>
            </a:r>
            <a:r>
              <a:rPr lang="en-US" altLang="ru-RU" sz="1600" dirty="0" smtClean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ru-RU" altLang="ru-RU" sz="1600" dirty="0" smtClean="0">
                <a:solidFill>
                  <a:schemeClr val="tx1"/>
                </a:solidFill>
                <a:cs typeface="Arial" panose="020B0604020202020204" pitchFamily="34" charset="0"/>
              </a:rPr>
              <a:t>— </a:t>
            </a:r>
            <a:r>
              <a:rPr lang="ru-RU" altLang="ru-RU" sz="1600" dirty="0" smtClean="0">
                <a:solidFill>
                  <a:schemeClr val="tx1"/>
                </a:solidFill>
                <a:cs typeface="Arial" panose="020B0604020202020204" pitchFamily="34" charset="0"/>
              </a:rPr>
              <a:t>недостаток образования, опыта и </a:t>
            </a:r>
            <a:r>
              <a:rPr lang="ru-RU" altLang="ru-RU" sz="1600" dirty="0" smtClean="0">
                <a:solidFill>
                  <a:schemeClr val="tx1"/>
                </a:solidFill>
                <a:cs typeface="Arial" panose="020B0604020202020204" pitchFamily="34" charset="0"/>
              </a:rPr>
              <a:t>знаний</a:t>
            </a:r>
            <a:r>
              <a:rPr lang="en-US" altLang="ru-RU" sz="1600" dirty="0" smtClean="0">
                <a:solidFill>
                  <a:schemeClr val="tx1"/>
                </a:solidFill>
                <a:cs typeface="Arial" panose="020B0604020202020204" pitchFamily="34" charset="0"/>
              </a:rPr>
              <a:t>.</a:t>
            </a:r>
          </a:p>
          <a:p>
            <a:pPr marL="72000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ru-RU" altLang="ru-RU" sz="1600" dirty="0" smtClean="0">
                <a:solidFill>
                  <a:schemeClr val="tx1"/>
                </a:solidFill>
                <a:cs typeface="Arial" panose="020B0604020202020204" pitchFamily="34" charset="0"/>
              </a:rPr>
              <a:t>Третья </a:t>
            </a:r>
            <a:r>
              <a:rPr lang="ru-RU" altLang="ru-RU" sz="1600" dirty="0" smtClean="0">
                <a:solidFill>
                  <a:schemeClr val="tx1"/>
                </a:solidFill>
                <a:cs typeface="Arial" panose="020B0604020202020204" pitchFamily="34" charset="0"/>
              </a:rPr>
              <a:t>причина</a:t>
            </a:r>
            <a:r>
              <a:rPr lang="en-US" altLang="ru-RU" sz="1600" dirty="0" smtClean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ru-RU" altLang="ru-RU" sz="1600" dirty="0" smtClean="0">
                <a:solidFill>
                  <a:schemeClr val="tx1"/>
                </a:solidFill>
                <a:cs typeface="Arial" panose="020B0604020202020204" pitchFamily="34" charset="0"/>
              </a:rPr>
              <a:t>— </a:t>
            </a:r>
            <a:r>
              <a:rPr lang="ru-RU" altLang="ru-RU" sz="1600" dirty="0" smtClean="0">
                <a:solidFill>
                  <a:schemeClr val="tx1"/>
                </a:solidFill>
                <a:cs typeface="Arial" panose="020B0604020202020204" pitchFamily="34" charset="0"/>
              </a:rPr>
              <a:t>взятки и откаты</a:t>
            </a:r>
            <a:r>
              <a:rPr lang="en-US" altLang="ru-RU" sz="1600" dirty="0" smtClean="0">
                <a:solidFill>
                  <a:schemeClr val="tx1"/>
                </a:solidFill>
                <a:cs typeface="Arial" panose="020B0604020202020204" pitchFamily="34" charset="0"/>
              </a:rPr>
              <a:t>.</a:t>
            </a:r>
            <a:endParaRPr lang="ru-RU" altLang="ru-RU" sz="16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grpSp>
        <p:nvGrpSpPr>
          <p:cNvPr id="2" name="Группа 2"/>
          <p:cNvGrpSpPr>
            <a:grpSpLocks/>
          </p:cNvGrpSpPr>
          <p:nvPr/>
        </p:nvGrpSpPr>
        <p:grpSpPr bwMode="auto">
          <a:xfrm>
            <a:off x="5262563" y="1935163"/>
            <a:ext cx="55562" cy="3505200"/>
            <a:chOff x="5262881" y="1935163"/>
            <a:chExt cx="55086" cy="3505993"/>
          </a:xfrm>
        </p:grpSpPr>
        <p:cxnSp>
          <p:nvCxnSpPr>
            <p:cNvPr id="36" name="Прямая соединительная линия 35"/>
            <p:cNvCxnSpPr/>
            <p:nvPr/>
          </p:nvCxnSpPr>
          <p:spPr bwMode="auto">
            <a:xfrm>
              <a:off x="5291211" y="1962156"/>
              <a:ext cx="0" cy="3479000"/>
            </a:xfrm>
            <a:prstGeom prst="line">
              <a:avLst/>
            </a:prstGeom>
            <a:ln w="127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Овал 37"/>
            <p:cNvSpPr/>
            <p:nvPr/>
          </p:nvSpPr>
          <p:spPr bwMode="auto">
            <a:xfrm rot="5400000">
              <a:off x="5262651" y="1935393"/>
              <a:ext cx="52399" cy="51938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1" name="Овал 10"/>
            <p:cNvSpPr/>
            <p:nvPr/>
          </p:nvSpPr>
          <p:spPr bwMode="auto">
            <a:xfrm rot="5400000">
              <a:off x="5265798" y="5388986"/>
              <a:ext cx="52400" cy="51938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baseline="-25000" dirty="0"/>
            </a:p>
          </p:txBody>
        </p:sp>
      </p:grpSp>
      <p:sp>
        <p:nvSpPr>
          <p:cNvPr id="14" name="Заголовок 1"/>
          <p:cNvSpPr txBox="1">
            <a:spLocks/>
          </p:cNvSpPr>
          <p:nvPr/>
        </p:nvSpPr>
        <p:spPr bwMode="auto">
          <a:xfrm>
            <a:off x="1355724" y="358458"/>
            <a:ext cx="7407275" cy="515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algn="l" defTabSz="914296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defRPr kumimoji="1" lang="ru-RU" sz="1800" kern="1200" smtClean="0">
                <a:solidFill>
                  <a:srgbClr val="3D464A"/>
                </a:solidFill>
                <a:latin typeface="Europe" pitchFamily="50" charset="-52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3D464A"/>
                </a:solidFill>
                <a:latin typeface="Europe" pitchFamily="2" charset="0"/>
                <a:ea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3D464A"/>
                </a:solidFill>
                <a:latin typeface="Europe" pitchFamily="2" charset="0"/>
                <a:ea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3D464A"/>
                </a:solidFill>
                <a:latin typeface="Europe" pitchFamily="2" charset="0"/>
                <a:ea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3D464A"/>
                </a:solidFill>
                <a:latin typeface="Europe" pitchFamily="2" charset="0"/>
                <a:ea typeface="Arial" charset="0"/>
                <a:cs typeface="Arial" charset="0"/>
              </a:defRPr>
            </a:lvl5pPr>
            <a:lvl6pPr marL="457148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3D464A"/>
                </a:solidFill>
                <a:latin typeface="Europe" pitchFamily="2" charset="0"/>
              </a:defRPr>
            </a:lvl6pPr>
            <a:lvl7pPr marL="914296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3D464A"/>
                </a:solidFill>
                <a:latin typeface="Europe" pitchFamily="2" charset="0"/>
              </a:defRPr>
            </a:lvl7pPr>
            <a:lvl8pPr marL="137144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3D464A"/>
                </a:solidFill>
                <a:latin typeface="Europe" pitchFamily="2" charset="0"/>
              </a:defRPr>
            </a:lvl8pPr>
            <a:lvl9pPr marL="1828592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3D464A"/>
                </a:solidFill>
                <a:latin typeface="Europe" pitchFamily="2" charset="0"/>
              </a:defRPr>
            </a:lvl9pPr>
          </a:lstStyle>
          <a:p>
            <a:pPr defTabSz="912813"/>
            <a:r>
              <a:rPr altLang="ru-RU" sz="2100">
                <a:latin typeface="Arial" charset="0"/>
                <a:cs typeface="Arial" charset="0"/>
              </a:rPr>
              <a:t>Описание проблемы</a:t>
            </a:r>
            <a:endParaRPr altLang="ru-RU" sz="2100" dirty="0">
              <a:latin typeface="Arial" charset="0"/>
              <a:cs typeface="Arial" charset="0"/>
            </a:endParaRPr>
          </a:p>
        </p:txBody>
      </p:sp>
      <p:sp>
        <p:nvSpPr>
          <p:cNvPr id="15" name="Дата 2"/>
          <p:cNvSpPr>
            <a:spLocks noGrp="1"/>
          </p:cNvSpPr>
          <p:nvPr>
            <p:ph type="dt" sz="quarter" idx="10"/>
          </p:nvPr>
        </p:nvSpPr>
        <p:spPr bwMode="auto">
          <a:xfrm>
            <a:off x="693738" y="6256338"/>
            <a:ext cx="2311400" cy="365125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8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8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8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8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8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58B92C2D-F6E8-4790-979B-32039E05C064}" type="datetime1">
              <a:rPr lang="ru-RU" altLang="ru-RU" sz="1100" i="0" smtClean="0">
                <a:solidFill>
                  <a:schemeClr val="accent5">
                    <a:lumMod val="75000"/>
                  </a:schemeClr>
                </a:solidFill>
                <a:latin typeface="+mn-lt"/>
              </a:rPr>
              <a:pPr eaLnBrk="1" hangingPunct="1"/>
              <a:t>17.07.2020</a:t>
            </a:fld>
            <a:endParaRPr lang="ru-RU" altLang="ru-RU" sz="1100" i="0" dirty="0" smtClean="0">
              <a:solidFill>
                <a:schemeClr val="accent5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16" name="Номер слайда 2"/>
          <p:cNvSpPr>
            <a:spLocks noGrp="1"/>
          </p:cNvSpPr>
          <p:nvPr>
            <p:ph type="sldNum" sz="quarter" idx="11"/>
          </p:nvPr>
        </p:nvSpPr>
        <p:spPr bwMode="auto">
          <a:xfrm>
            <a:off x="9013825" y="6280150"/>
            <a:ext cx="404813" cy="251279"/>
          </a:xfrm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SzPct val="80000"/>
              <a:buBlip>
                <a:blip r:embed="rId3"/>
              </a:buBlip>
              <a:defRPr kumimoji="1" sz="1200">
                <a:solidFill>
                  <a:srgbClr val="3D464A"/>
                </a:solidFill>
                <a:latin typeface="Europe" pitchFamily="2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FED208"/>
              </a:buClr>
              <a:buSzPct val="120000"/>
              <a:buFont typeface="Arial" charset="0"/>
              <a:buChar char="•"/>
              <a:defRPr kumimoji="1" sz="1200">
                <a:solidFill>
                  <a:srgbClr val="3D464A"/>
                </a:solidFill>
                <a:latin typeface="Europe" pitchFamily="2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ED208"/>
              </a:buClr>
              <a:buSzPct val="96000"/>
              <a:buFont typeface="Wingdings" pitchFamily="2" charset="2"/>
              <a:buChar char="§"/>
              <a:defRPr kumimoji="1" sz="1200">
                <a:solidFill>
                  <a:srgbClr val="3D464A"/>
                </a:solidFill>
                <a:latin typeface="Europe" pitchFamily="2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kumimoji="1" sz="1200">
                <a:solidFill>
                  <a:srgbClr val="3D464A"/>
                </a:solidFill>
                <a:latin typeface="Europe" pitchFamily="2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defRPr kumimoji="1" sz="1200">
                <a:solidFill>
                  <a:srgbClr val="3D464A"/>
                </a:solidFill>
                <a:latin typeface="Europe" pitchFamily="2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kumimoji="1" sz="1200">
                <a:solidFill>
                  <a:srgbClr val="3D464A"/>
                </a:solidFill>
                <a:latin typeface="Europe" pitchFamily="2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kumimoji="1" sz="1200">
                <a:solidFill>
                  <a:srgbClr val="3D464A"/>
                </a:solidFill>
                <a:latin typeface="Europe" pitchFamily="2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kumimoji="1" sz="1200">
                <a:solidFill>
                  <a:srgbClr val="3D464A"/>
                </a:solidFill>
                <a:latin typeface="Europe" pitchFamily="2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kumimoji="1" sz="1200">
                <a:solidFill>
                  <a:srgbClr val="3D464A"/>
                </a:solidFill>
                <a:latin typeface="Europe" pitchFamily="2" charset="0"/>
                <a:cs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SzTx/>
              <a:buFontTx/>
              <a:buNone/>
              <a:defRPr/>
            </a:pPr>
            <a:fld id="{D13EEE33-A546-4D07-A8CC-550B3FAA17A7}" type="slidenum">
              <a:rPr lang="ru-RU" altLang="ru-RU">
                <a:solidFill>
                  <a:schemeClr val="accent5">
                    <a:lumMod val="75000"/>
                  </a:schemeClr>
                </a:solidFill>
                <a:latin typeface="+mn-lt"/>
                <a:ea typeface="+mj-ea"/>
              </a:rPr>
              <a:pPr algn="ctr" eaLnBrk="1" hangingPunct="1">
                <a:spcBef>
                  <a:spcPct val="0"/>
                </a:spcBef>
                <a:buSzTx/>
                <a:buFontTx/>
                <a:buNone/>
                <a:defRPr/>
              </a:pPr>
              <a:t>2</a:t>
            </a:fld>
            <a:endParaRPr lang="ru-RU" altLang="ru-RU" dirty="0">
              <a:solidFill>
                <a:schemeClr val="accent5">
                  <a:lumMod val="75000"/>
                </a:schemeClr>
              </a:solidFill>
              <a:latin typeface="+mn-lt"/>
              <a:ea typeface="+mj-ea"/>
            </a:endParaRPr>
          </a:p>
        </p:txBody>
      </p:sp>
      <p:pic>
        <p:nvPicPr>
          <p:cNvPr id="63490" name="Picture 2" descr="Организация закупок в компании: стратегии, способы, анализ ошибок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502827" y="2067345"/>
            <a:ext cx="4006518" cy="271641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7464716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Прямоугольник 32"/>
          <p:cNvSpPr/>
          <p:nvPr/>
        </p:nvSpPr>
        <p:spPr>
          <a:xfrm>
            <a:off x="642938" y="1847849"/>
            <a:ext cx="4624801" cy="4175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ru-RU" altLang="ru-RU" sz="1600" dirty="0" smtClean="0">
                <a:solidFill>
                  <a:schemeClr val="tx1"/>
                </a:solidFill>
                <a:cs typeface="Arial" panose="020B0604020202020204" pitchFamily="34" charset="0"/>
              </a:rPr>
              <a:t>Для решения проблемы с большими затратами предлагается разработка интеллектуальной системы, которая сможет оптимизировать процесс закупки.</a:t>
            </a:r>
          </a:p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ru-RU" altLang="ru-RU" sz="1600" dirty="0" smtClean="0">
                <a:solidFill>
                  <a:schemeClr val="tx1"/>
                </a:solidFill>
                <a:cs typeface="Arial" panose="020B0604020202020204" pitchFamily="34" charset="0"/>
              </a:rPr>
              <a:t>Предполагается, что система будет:</a:t>
            </a:r>
          </a:p>
          <a:p>
            <a:pPr marL="72000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ru-RU" altLang="ru-RU" sz="1600" dirty="0" smtClean="0">
                <a:solidFill>
                  <a:schemeClr val="tx1"/>
                </a:solidFill>
                <a:cs typeface="Arial" panose="020B0604020202020204" pitchFamily="34" charset="0"/>
              </a:rPr>
              <a:t>анализировать </a:t>
            </a:r>
            <a:r>
              <a:rPr lang="ru-RU" altLang="ru-RU" sz="1600" dirty="0" smtClean="0">
                <a:solidFill>
                  <a:schemeClr val="tx1"/>
                </a:solidFill>
                <a:cs typeface="Arial" panose="020B0604020202020204" pitchFamily="34" charset="0"/>
              </a:rPr>
              <a:t>большое количество возможных поставщиков</a:t>
            </a:r>
            <a:r>
              <a:rPr lang="ru-RU" altLang="ru-RU" sz="1600" dirty="0" smtClean="0">
                <a:solidFill>
                  <a:schemeClr val="tx1"/>
                </a:solidFill>
                <a:cs typeface="Arial" panose="020B0604020202020204" pitchFamily="34" charset="0"/>
              </a:rPr>
              <a:t>;</a:t>
            </a:r>
            <a:endParaRPr lang="en-US" altLang="ru-RU" sz="160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72000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ru-RU" altLang="ru-RU" sz="1600" dirty="0" smtClean="0">
                <a:solidFill>
                  <a:schemeClr val="tx1"/>
                </a:solidFill>
                <a:cs typeface="Arial" panose="020B0604020202020204" pitchFamily="34" charset="0"/>
              </a:rPr>
              <a:t>выбирать самых оптимальных исходя </a:t>
            </a:r>
            <a:r>
              <a:rPr lang="ru-RU" altLang="ru-RU" sz="1600" dirty="0" smtClean="0">
                <a:solidFill>
                  <a:schemeClr val="tx1"/>
                </a:solidFill>
                <a:cs typeface="Arial" panose="020B0604020202020204" pitchFamily="34" charset="0"/>
              </a:rPr>
              <a:t>из </a:t>
            </a:r>
            <a:r>
              <a:rPr lang="ru-RU" altLang="ru-RU" sz="1600" dirty="0" smtClean="0">
                <a:solidFill>
                  <a:schemeClr val="tx1"/>
                </a:solidFill>
                <a:cs typeface="Arial" panose="020B0604020202020204" pitchFamily="34" charset="0"/>
              </a:rPr>
              <a:t>цены и качества товара, а также надежности самого </a:t>
            </a:r>
            <a:r>
              <a:rPr lang="ru-RU" altLang="ru-RU" sz="1600" dirty="0" smtClean="0">
                <a:solidFill>
                  <a:schemeClr val="tx1"/>
                </a:solidFill>
                <a:cs typeface="Arial" panose="020B0604020202020204" pitchFamily="34" charset="0"/>
              </a:rPr>
              <a:t>поставщика</a:t>
            </a:r>
            <a:r>
              <a:rPr lang="en-US" altLang="ru-RU" sz="1600" dirty="0" smtClean="0">
                <a:solidFill>
                  <a:schemeClr val="tx1"/>
                </a:solidFill>
                <a:cs typeface="Arial" panose="020B0604020202020204" pitchFamily="34" charset="0"/>
              </a:rPr>
              <a:t>;</a:t>
            </a:r>
          </a:p>
          <a:p>
            <a:pPr marL="72000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ru-RU" altLang="ru-RU" sz="1600" dirty="0" smtClean="0">
                <a:solidFill>
                  <a:schemeClr val="tx1"/>
                </a:solidFill>
                <a:cs typeface="Arial" panose="020B0604020202020204" pitchFamily="34" charset="0"/>
              </a:rPr>
              <a:t>автоматически формировать торговое предложение и </a:t>
            </a:r>
            <a:r>
              <a:rPr lang="ru-RU" altLang="ru-RU" sz="1600" dirty="0" smtClean="0">
                <a:solidFill>
                  <a:schemeClr val="tx1"/>
                </a:solidFill>
                <a:cs typeface="Arial" panose="020B0604020202020204" pitchFamily="34" charset="0"/>
              </a:rPr>
              <a:t>отправлять</a:t>
            </a:r>
            <a:r>
              <a:rPr lang="en-US" altLang="ru-RU" sz="1600" dirty="0" smtClean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ru-RU" altLang="ru-RU" sz="1600" dirty="0" smtClean="0">
                <a:solidFill>
                  <a:schemeClr val="tx1"/>
                </a:solidFill>
                <a:cs typeface="Arial" panose="020B0604020202020204" pitchFamily="34" charset="0"/>
              </a:rPr>
              <a:t>выбранным поставщика</a:t>
            </a:r>
            <a:r>
              <a:rPr lang="en-US" altLang="ru-RU" sz="1600" dirty="0" smtClean="0">
                <a:solidFill>
                  <a:schemeClr val="tx1"/>
                </a:solidFill>
                <a:cs typeface="Arial" panose="020B0604020202020204" pitchFamily="34" charset="0"/>
              </a:rPr>
              <a:t>;</a:t>
            </a:r>
          </a:p>
          <a:p>
            <a:pPr marL="72000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endParaRPr lang="ru-RU" altLang="ru-RU" sz="16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grpSp>
        <p:nvGrpSpPr>
          <p:cNvPr id="2" name="Группа 2"/>
          <p:cNvGrpSpPr>
            <a:grpSpLocks/>
          </p:cNvGrpSpPr>
          <p:nvPr/>
        </p:nvGrpSpPr>
        <p:grpSpPr bwMode="auto">
          <a:xfrm>
            <a:off x="5262563" y="1935163"/>
            <a:ext cx="55562" cy="3505200"/>
            <a:chOff x="5262881" y="1935163"/>
            <a:chExt cx="55086" cy="3505993"/>
          </a:xfrm>
        </p:grpSpPr>
        <p:cxnSp>
          <p:nvCxnSpPr>
            <p:cNvPr id="36" name="Прямая соединительная линия 35"/>
            <p:cNvCxnSpPr/>
            <p:nvPr/>
          </p:nvCxnSpPr>
          <p:spPr bwMode="auto">
            <a:xfrm>
              <a:off x="5291211" y="1962156"/>
              <a:ext cx="0" cy="3479000"/>
            </a:xfrm>
            <a:prstGeom prst="line">
              <a:avLst/>
            </a:prstGeom>
            <a:ln w="127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Овал 37"/>
            <p:cNvSpPr/>
            <p:nvPr/>
          </p:nvSpPr>
          <p:spPr bwMode="auto">
            <a:xfrm rot="5400000">
              <a:off x="5262651" y="1935393"/>
              <a:ext cx="52399" cy="51938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1" name="Овал 10"/>
            <p:cNvSpPr/>
            <p:nvPr/>
          </p:nvSpPr>
          <p:spPr bwMode="auto">
            <a:xfrm rot="5400000">
              <a:off x="5265798" y="5388986"/>
              <a:ext cx="52400" cy="51938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baseline="-25000" dirty="0"/>
            </a:p>
          </p:txBody>
        </p:sp>
      </p:grpSp>
      <p:sp>
        <p:nvSpPr>
          <p:cNvPr id="14" name="Заголовок 1"/>
          <p:cNvSpPr txBox="1">
            <a:spLocks/>
          </p:cNvSpPr>
          <p:nvPr/>
        </p:nvSpPr>
        <p:spPr bwMode="auto">
          <a:xfrm>
            <a:off x="1355724" y="358458"/>
            <a:ext cx="7407275" cy="515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algn="l" defTabSz="914296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defRPr kumimoji="1" lang="ru-RU" sz="1800" kern="1200" smtClean="0">
                <a:solidFill>
                  <a:srgbClr val="3D464A"/>
                </a:solidFill>
                <a:latin typeface="Europe" pitchFamily="50" charset="-52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3D464A"/>
                </a:solidFill>
                <a:latin typeface="Europe" pitchFamily="2" charset="0"/>
                <a:ea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3D464A"/>
                </a:solidFill>
                <a:latin typeface="Europe" pitchFamily="2" charset="0"/>
                <a:ea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3D464A"/>
                </a:solidFill>
                <a:latin typeface="Europe" pitchFamily="2" charset="0"/>
                <a:ea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3D464A"/>
                </a:solidFill>
                <a:latin typeface="Europe" pitchFamily="2" charset="0"/>
                <a:ea typeface="Arial" charset="0"/>
                <a:cs typeface="Arial" charset="0"/>
              </a:defRPr>
            </a:lvl5pPr>
            <a:lvl6pPr marL="457148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3D464A"/>
                </a:solidFill>
                <a:latin typeface="Europe" pitchFamily="2" charset="0"/>
              </a:defRPr>
            </a:lvl6pPr>
            <a:lvl7pPr marL="914296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3D464A"/>
                </a:solidFill>
                <a:latin typeface="Europe" pitchFamily="2" charset="0"/>
              </a:defRPr>
            </a:lvl7pPr>
            <a:lvl8pPr marL="137144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3D464A"/>
                </a:solidFill>
                <a:latin typeface="Europe" pitchFamily="2" charset="0"/>
              </a:defRPr>
            </a:lvl8pPr>
            <a:lvl9pPr marL="1828592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3D464A"/>
                </a:solidFill>
                <a:latin typeface="Europe" pitchFamily="2" charset="0"/>
              </a:defRPr>
            </a:lvl9pPr>
          </a:lstStyle>
          <a:p>
            <a:pPr defTabSz="912813"/>
            <a:r>
              <a:rPr sz="2100"/>
              <a:t>Предложение по оптимизации данной проблемы</a:t>
            </a:r>
            <a:endParaRPr altLang="ru-RU" sz="2100" dirty="0">
              <a:cs typeface="Arial" charset="0"/>
            </a:endParaRPr>
          </a:p>
        </p:txBody>
      </p:sp>
      <p:sp>
        <p:nvSpPr>
          <p:cNvPr id="15" name="Дата 2"/>
          <p:cNvSpPr>
            <a:spLocks noGrp="1"/>
          </p:cNvSpPr>
          <p:nvPr>
            <p:ph type="dt" sz="quarter" idx="10"/>
          </p:nvPr>
        </p:nvSpPr>
        <p:spPr bwMode="auto">
          <a:xfrm>
            <a:off x="693738" y="6256338"/>
            <a:ext cx="2311400" cy="365125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8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8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8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8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8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58B92C2D-F6E8-4790-979B-32039E05C064}" type="datetime1">
              <a:rPr lang="ru-RU" altLang="ru-RU" sz="1100" i="0" smtClean="0">
                <a:solidFill>
                  <a:schemeClr val="accent5">
                    <a:lumMod val="75000"/>
                  </a:schemeClr>
                </a:solidFill>
                <a:latin typeface="+mn-lt"/>
              </a:rPr>
              <a:pPr eaLnBrk="1" hangingPunct="1"/>
              <a:t>17.07.2020</a:t>
            </a:fld>
            <a:endParaRPr lang="ru-RU" altLang="ru-RU" sz="1100" i="0" dirty="0" smtClean="0">
              <a:solidFill>
                <a:schemeClr val="accent5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16" name="Номер слайда 2"/>
          <p:cNvSpPr>
            <a:spLocks noGrp="1"/>
          </p:cNvSpPr>
          <p:nvPr>
            <p:ph type="sldNum" sz="quarter" idx="11"/>
          </p:nvPr>
        </p:nvSpPr>
        <p:spPr bwMode="auto">
          <a:xfrm>
            <a:off x="9013825" y="6280150"/>
            <a:ext cx="404813" cy="251279"/>
          </a:xfrm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SzPct val="80000"/>
              <a:buBlip>
                <a:blip r:embed="rId3"/>
              </a:buBlip>
              <a:defRPr kumimoji="1" sz="1200">
                <a:solidFill>
                  <a:srgbClr val="3D464A"/>
                </a:solidFill>
                <a:latin typeface="Europe" pitchFamily="2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FED208"/>
              </a:buClr>
              <a:buSzPct val="120000"/>
              <a:buFont typeface="Arial" charset="0"/>
              <a:buChar char="•"/>
              <a:defRPr kumimoji="1" sz="1200">
                <a:solidFill>
                  <a:srgbClr val="3D464A"/>
                </a:solidFill>
                <a:latin typeface="Europe" pitchFamily="2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ED208"/>
              </a:buClr>
              <a:buSzPct val="96000"/>
              <a:buFont typeface="Wingdings" pitchFamily="2" charset="2"/>
              <a:buChar char="§"/>
              <a:defRPr kumimoji="1" sz="1200">
                <a:solidFill>
                  <a:srgbClr val="3D464A"/>
                </a:solidFill>
                <a:latin typeface="Europe" pitchFamily="2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kumimoji="1" sz="1200">
                <a:solidFill>
                  <a:srgbClr val="3D464A"/>
                </a:solidFill>
                <a:latin typeface="Europe" pitchFamily="2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defRPr kumimoji="1" sz="1200">
                <a:solidFill>
                  <a:srgbClr val="3D464A"/>
                </a:solidFill>
                <a:latin typeface="Europe" pitchFamily="2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kumimoji="1" sz="1200">
                <a:solidFill>
                  <a:srgbClr val="3D464A"/>
                </a:solidFill>
                <a:latin typeface="Europe" pitchFamily="2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kumimoji="1" sz="1200">
                <a:solidFill>
                  <a:srgbClr val="3D464A"/>
                </a:solidFill>
                <a:latin typeface="Europe" pitchFamily="2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kumimoji="1" sz="1200">
                <a:solidFill>
                  <a:srgbClr val="3D464A"/>
                </a:solidFill>
                <a:latin typeface="Europe" pitchFamily="2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kumimoji="1" sz="1200">
                <a:solidFill>
                  <a:srgbClr val="3D464A"/>
                </a:solidFill>
                <a:latin typeface="Europe" pitchFamily="2" charset="0"/>
                <a:cs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SzTx/>
              <a:buFontTx/>
              <a:buNone/>
              <a:defRPr/>
            </a:pPr>
            <a:fld id="{D13EEE33-A546-4D07-A8CC-550B3FAA17A7}" type="slidenum">
              <a:rPr lang="ru-RU" altLang="ru-RU">
                <a:solidFill>
                  <a:schemeClr val="accent5">
                    <a:lumMod val="75000"/>
                  </a:schemeClr>
                </a:solidFill>
                <a:latin typeface="+mn-lt"/>
                <a:ea typeface="+mj-ea"/>
              </a:rPr>
              <a:pPr algn="ctr" eaLnBrk="1" hangingPunct="1">
                <a:spcBef>
                  <a:spcPct val="0"/>
                </a:spcBef>
                <a:buSzTx/>
                <a:buFontTx/>
                <a:buNone/>
                <a:defRPr/>
              </a:pPr>
              <a:t>3</a:t>
            </a:fld>
            <a:endParaRPr lang="ru-RU" altLang="ru-RU" dirty="0">
              <a:solidFill>
                <a:schemeClr val="accent5">
                  <a:lumMod val="75000"/>
                </a:schemeClr>
              </a:solidFill>
              <a:latin typeface="+mn-lt"/>
              <a:ea typeface="+mj-ea"/>
            </a:endParaRPr>
          </a:p>
        </p:txBody>
      </p:sp>
      <p:pic>
        <p:nvPicPr>
          <p:cNvPr id="80898" name="Picture 2" descr="ФАС России рассказала, как оптимизировать региональные закупки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440984" y="1948070"/>
            <a:ext cx="4280452" cy="321033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7464716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Прямоугольник 32"/>
          <p:cNvSpPr/>
          <p:nvPr/>
        </p:nvSpPr>
        <p:spPr>
          <a:xfrm>
            <a:off x="642938" y="1847850"/>
            <a:ext cx="4624801" cy="31415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ru-RU" altLang="ru-RU" sz="1600" dirty="0" smtClean="0">
                <a:solidFill>
                  <a:schemeClr val="tx1"/>
                </a:solidFill>
                <a:cs typeface="Arial" panose="020B0604020202020204" pitchFamily="34" charset="0"/>
              </a:rPr>
              <a:t>Затраты по данному проекту будут необходимы как на разработку, так и на внедрение.</a:t>
            </a:r>
          </a:p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ru-RU" altLang="ru-RU" sz="1600" dirty="0" smtClean="0">
                <a:solidFill>
                  <a:schemeClr val="tx1"/>
                </a:solidFill>
                <a:cs typeface="Arial" panose="020B0604020202020204" pitchFamily="34" charset="0"/>
              </a:rPr>
              <a:t>Ожидаемый экономический эффект будет равен годовой экономии, полученной от сокращения времени на поиск поставщиков и исключения коррупции при организации закупок.</a:t>
            </a:r>
          </a:p>
        </p:txBody>
      </p:sp>
      <p:grpSp>
        <p:nvGrpSpPr>
          <p:cNvPr id="2" name="Группа 2"/>
          <p:cNvGrpSpPr>
            <a:grpSpLocks/>
          </p:cNvGrpSpPr>
          <p:nvPr/>
        </p:nvGrpSpPr>
        <p:grpSpPr bwMode="auto">
          <a:xfrm>
            <a:off x="5262563" y="1935163"/>
            <a:ext cx="55562" cy="3505200"/>
            <a:chOff x="5262881" y="1935163"/>
            <a:chExt cx="55086" cy="3505993"/>
          </a:xfrm>
        </p:grpSpPr>
        <p:cxnSp>
          <p:nvCxnSpPr>
            <p:cNvPr id="36" name="Прямая соединительная линия 35"/>
            <p:cNvCxnSpPr/>
            <p:nvPr/>
          </p:nvCxnSpPr>
          <p:spPr bwMode="auto">
            <a:xfrm>
              <a:off x="5291211" y="1962156"/>
              <a:ext cx="0" cy="3479000"/>
            </a:xfrm>
            <a:prstGeom prst="line">
              <a:avLst/>
            </a:prstGeom>
            <a:ln w="127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Овал 37"/>
            <p:cNvSpPr/>
            <p:nvPr/>
          </p:nvSpPr>
          <p:spPr bwMode="auto">
            <a:xfrm rot="5400000">
              <a:off x="5262651" y="1935393"/>
              <a:ext cx="52399" cy="51938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1" name="Овал 10"/>
            <p:cNvSpPr/>
            <p:nvPr/>
          </p:nvSpPr>
          <p:spPr bwMode="auto">
            <a:xfrm rot="5400000">
              <a:off x="5265798" y="5388986"/>
              <a:ext cx="52400" cy="51938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baseline="-25000" dirty="0"/>
            </a:p>
          </p:txBody>
        </p:sp>
      </p:grpSp>
      <p:sp>
        <p:nvSpPr>
          <p:cNvPr id="14" name="Заголовок 1"/>
          <p:cNvSpPr txBox="1">
            <a:spLocks/>
          </p:cNvSpPr>
          <p:nvPr/>
        </p:nvSpPr>
        <p:spPr bwMode="auto">
          <a:xfrm>
            <a:off x="1355724" y="358458"/>
            <a:ext cx="7407275" cy="515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algn="l" defTabSz="914296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defRPr kumimoji="1" lang="ru-RU" sz="1800" kern="1200" smtClean="0">
                <a:solidFill>
                  <a:srgbClr val="3D464A"/>
                </a:solidFill>
                <a:latin typeface="Europe" pitchFamily="50" charset="-52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3D464A"/>
                </a:solidFill>
                <a:latin typeface="Europe" pitchFamily="2" charset="0"/>
                <a:ea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3D464A"/>
                </a:solidFill>
                <a:latin typeface="Europe" pitchFamily="2" charset="0"/>
                <a:ea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3D464A"/>
                </a:solidFill>
                <a:latin typeface="Europe" pitchFamily="2" charset="0"/>
                <a:ea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3D464A"/>
                </a:solidFill>
                <a:latin typeface="Europe" pitchFamily="2" charset="0"/>
                <a:ea typeface="Arial" charset="0"/>
                <a:cs typeface="Arial" charset="0"/>
              </a:defRPr>
            </a:lvl5pPr>
            <a:lvl6pPr marL="457148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3D464A"/>
                </a:solidFill>
                <a:latin typeface="Europe" pitchFamily="2" charset="0"/>
              </a:defRPr>
            </a:lvl6pPr>
            <a:lvl7pPr marL="914296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3D464A"/>
                </a:solidFill>
                <a:latin typeface="Europe" pitchFamily="2" charset="0"/>
              </a:defRPr>
            </a:lvl7pPr>
            <a:lvl8pPr marL="137144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3D464A"/>
                </a:solidFill>
                <a:latin typeface="Europe" pitchFamily="2" charset="0"/>
              </a:defRPr>
            </a:lvl8pPr>
            <a:lvl9pPr marL="1828592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3D464A"/>
                </a:solidFill>
                <a:latin typeface="Europe" pitchFamily="2" charset="0"/>
              </a:defRPr>
            </a:lvl9pPr>
          </a:lstStyle>
          <a:p>
            <a:pPr defTabSz="912813"/>
            <a:r>
              <a:rPr sz="2100"/>
              <a:t>Экономический анализ предложенного решения</a:t>
            </a:r>
            <a:endParaRPr altLang="ru-RU" sz="2100" dirty="0">
              <a:cs typeface="Arial" charset="0"/>
            </a:endParaRPr>
          </a:p>
        </p:txBody>
      </p:sp>
      <p:sp>
        <p:nvSpPr>
          <p:cNvPr id="15" name="Дата 2"/>
          <p:cNvSpPr>
            <a:spLocks noGrp="1"/>
          </p:cNvSpPr>
          <p:nvPr>
            <p:ph type="dt" sz="quarter" idx="10"/>
          </p:nvPr>
        </p:nvSpPr>
        <p:spPr bwMode="auto">
          <a:xfrm>
            <a:off x="693738" y="6256338"/>
            <a:ext cx="2311400" cy="365125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8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8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8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8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8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58B92C2D-F6E8-4790-979B-32039E05C064}" type="datetime1">
              <a:rPr lang="ru-RU" altLang="ru-RU" sz="1100" i="0" smtClean="0">
                <a:solidFill>
                  <a:schemeClr val="accent5">
                    <a:lumMod val="75000"/>
                  </a:schemeClr>
                </a:solidFill>
                <a:latin typeface="+mn-lt"/>
              </a:rPr>
              <a:pPr eaLnBrk="1" hangingPunct="1"/>
              <a:t>17.07.2020</a:t>
            </a:fld>
            <a:endParaRPr lang="ru-RU" altLang="ru-RU" sz="1100" i="0" dirty="0" smtClean="0">
              <a:solidFill>
                <a:schemeClr val="accent5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16" name="Номер слайда 2"/>
          <p:cNvSpPr>
            <a:spLocks noGrp="1"/>
          </p:cNvSpPr>
          <p:nvPr>
            <p:ph type="sldNum" sz="quarter" idx="11"/>
          </p:nvPr>
        </p:nvSpPr>
        <p:spPr bwMode="auto">
          <a:xfrm>
            <a:off x="9013825" y="6280150"/>
            <a:ext cx="404813" cy="251279"/>
          </a:xfrm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SzPct val="80000"/>
              <a:buBlip>
                <a:blip r:embed="rId3"/>
              </a:buBlip>
              <a:defRPr kumimoji="1" sz="1200">
                <a:solidFill>
                  <a:srgbClr val="3D464A"/>
                </a:solidFill>
                <a:latin typeface="Europe" pitchFamily="2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FED208"/>
              </a:buClr>
              <a:buSzPct val="120000"/>
              <a:buFont typeface="Arial" charset="0"/>
              <a:buChar char="•"/>
              <a:defRPr kumimoji="1" sz="1200">
                <a:solidFill>
                  <a:srgbClr val="3D464A"/>
                </a:solidFill>
                <a:latin typeface="Europe" pitchFamily="2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ED208"/>
              </a:buClr>
              <a:buSzPct val="96000"/>
              <a:buFont typeface="Wingdings" pitchFamily="2" charset="2"/>
              <a:buChar char="§"/>
              <a:defRPr kumimoji="1" sz="1200">
                <a:solidFill>
                  <a:srgbClr val="3D464A"/>
                </a:solidFill>
                <a:latin typeface="Europe" pitchFamily="2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kumimoji="1" sz="1200">
                <a:solidFill>
                  <a:srgbClr val="3D464A"/>
                </a:solidFill>
                <a:latin typeface="Europe" pitchFamily="2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defRPr kumimoji="1" sz="1200">
                <a:solidFill>
                  <a:srgbClr val="3D464A"/>
                </a:solidFill>
                <a:latin typeface="Europe" pitchFamily="2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kumimoji="1" sz="1200">
                <a:solidFill>
                  <a:srgbClr val="3D464A"/>
                </a:solidFill>
                <a:latin typeface="Europe" pitchFamily="2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kumimoji="1" sz="1200">
                <a:solidFill>
                  <a:srgbClr val="3D464A"/>
                </a:solidFill>
                <a:latin typeface="Europe" pitchFamily="2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kumimoji="1" sz="1200">
                <a:solidFill>
                  <a:srgbClr val="3D464A"/>
                </a:solidFill>
                <a:latin typeface="Europe" pitchFamily="2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kumimoji="1" sz="1200">
                <a:solidFill>
                  <a:srgbClr val="3D464A"/>
                </a:solidFill>
                <a:latin typeface="Europe" pitchFamily="2" charset="0"/>
                <a:cs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SzTx/>
              <a:buFontTx/>
              <a:buNone/>
              <a:defRPr/>
            </a:pPr>
            <a:fld id="{D13EEE33-A546-4D07-A8CC-550B3FAA17A7}" type="slidenum">
              <a:rPr lang="ru-RU" altLang="ru-RU">
                <a:solidFill>
                  <a:schemeClr val="accent5">
                    <a:lumMod val="75000"/>
                  </a:schemeClr>
                </a:solidFill>
                <a:latin typeface="+mn-lt"/>
                <a:ea typeface="+mj-ea"/>
              </a:rPr>
              <a:pPr algn="ctr" eaLnBrk="1" hangingPunct="1">
                <a:spcBef>
                  <a:spcPct val="0"/>
                </a:spcBef>
                <a:buSzTx/>
                <a:buFontTx/>
                <a:buNone/>
                <a:defRPr/>
              </a:pPr>
              <a:t>4</a:t>
            </a:fld>
            <a:endParaRPr lang="ru-RU" altLang="ru-RU" dirty="0">
              <a:solidFill>
                <a:schemeClr val="accent5">
                  <a:lumMod val="75000"/>
                </a:schemeClr>
              </a:solidFill>
              <a:latin typeface="+mn-lt"/>
              <a:ea typeface="+mj-ea"/>
            </a:endParaRPr>
          </a:p>
        </p:txBody>
      </p:sp>
      <p:pic>
        <p:nvPicPr>
          <p:cNvPr id="82948" name="Picture 4" descr="Анализ маркетинговой / рекламной деятельности предприятия ...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502827" y="2019197"/>
            <a:ext cx="4048677" cy="303650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7464716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пасибо за внимание!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333610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Специальное оформление">
  <a:themeElements>
    <a:clrScheme name="СИБИНТЕК">
      <a:dk1>
        <a:sysClr val="windowText" lastClr="000000"/>
      </a:dk1>
      <a:lt1>
        <a:sysClr val="window" lastClr="FFFFFF"/>
      </a:lt1>
      <a:dk2>
        <a:srgbClr val="FFFFFF"/>
      </a:dk2>
      <a:lt2>
        <a:srgbClr val="3D464A"/>
      </a:lt2>
      <a:accent1>
        <a:srgbClr val="FFD200"/>
      </a:accent1>
      <a:accent2>
        <a:srgbClr val="FCAF17"/>
      </a:accent2>
      <a:accent3>
        <a:srgbClr val="6985AF"/>
      </a:accent3>
      <a:accent4>
        <a:srgbClr val="95A0B2"/>
      </a:accent4>
      <a:accent5>
        <a:srgbClr val="BABABA"/>
      </a:accent5>
      <a:accent6>
        <a:srgbClr val="E2E2E2"/>
      </a:accent6>
      <a:hlink>
        <a:srgbClr val="FFFFFF"/>
      </a:hlink>
      <a:folHlink>
        <a:srgbClr val="FFFFFF"/>
      </a:folHlink>
    </a:clrScheme>
    <a:fontScheme name="СИБИНТЕК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внутренний слайд">
  <a:themeElements>
    <a:clrScheme name="СИБИНТЕК">
      <a:dk1>
        <a:sysClr val="windowText" lastClr="000000"/>
      </a:dk1>
      <a:lt1>
        <a:sysClr val="window" lastClr="FFFFFF"/>
      </a:lt1>
      <a:dk2>
        <a:srgbClr val="FFFFFF"/>
      </a:dk2>
      <a:lt2>
        <a:srgbClr val="3D464A"/>
      </a:lt2>
      <a:accent1>
        <a:srgbClr val="FFD200"/>
      </a:accent1>
      <a:accent2>
        <a:srgbClr val="FCAF17"/>
      </a:accent2>
      <a:accent3>
        <a:srgbClr val="6985AF"/>
      </a:accent3>
      <a:accent4>
        <a:srgbClr val="95A0B2"/>
      </a:accent4>
      <a:accent5>
        <a:srgbClr val="BABABA"/>
      </a:accent5>
      <a:accent6>
        <a:srgbClr val="E2E2E2"/>
      </a:accent6>
      <a:hlink>
        <a:srgbClr val="0000FF"/>
      </a:hlink>
      <a:folHlink>
        <a:srgbClr val="800080"/>
      </a:folHlink>
    </a:clrScheme>
    <a:fontScheme name="Сибинтек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hablon_europe</Template>
  <TotalTime>7249</TotalTime>
  <Words>217</Words>
  <Application>Microsoft Office PowerPoint</Application>
  <PresentationFormat>Лист A4 (210x297 мм)</PresentationFormat>
  <Paragraphs>36</Paragraphs>
  <Slides>5</Slides>
  <Notes>5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8" baseType="lpstr">
      <vt:lpstr>1_Специальное оформление</vt:lpstr>
      <vt:lpstr>внутренний слайд</vt:lpstr>
      <vt:lpstr>think-cell Slide</vt:lpstr>
      <vt:lpstr>Интеллектуальная система помощи в организации закупок </vt:lpstr>
      <vt:lpstr>Слайд 2</vt:lpstr>
      <vt:lpstr>Слайд 3</vt:lpstr>
      <vt:lpstr>Слайд 4</vt:lpstr>
      <vt:lpstr>Спасибо за внимание!</vt:lpstr>
    </vt:vector>
  </TitlesOfParts>
  <LinksUpToDate>false</LinksUpToDate>
  <SharedDoc>false</SharedDoc>
  <HyperlinkBase/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Шаблон СИБИНТЕК</dc:title>
  <dc:creator>Агапова Катерина</dc:creator>
  <cp:lastModifiedBy>Александр</cp:lastModifiedBy>
  <cp:revision>389</cp:revision>
  <dcterms:created xsi:type="dcterms:W3CDTF">2012-04-25T13:09:23Z</dcterms:created>
  <dcterms:modified xsi:type="dcterms:W3CDTF">2020-07-17T11:41:09Z</dcterms:modified>
</cp:coreProperties>
</file>